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9"/>
  </p:notesMasterIdLst>
  <p:sldIdLst>
    <p:sldId id="256" r:id="rId5"/>
    <p:sldId id="3079" r:id="rId6"/>
    <p:sldId id="3081" r:id="rId7"/>
    <p:sldId id="3082" r:id="rId8"/>
    <p:sldId id="3083" r:id="rId9"/>
    <p:sldId id="3084" r:id="rId10"/>
    <p:sldId id="3085" r:id="rId11"/>
    <p:sldId id="3219" r:id="rId12"/>
    <p:sldId id="3086" r:id="rId13"/>
    <p:sldId id="3087" r:id="rId14"/>
    <p:sldId id="3088" r:id="rId15"/>
    <p:sldId id="3089" r:id="rId16"/>
    <p:sldId id="3090" r:id="rId17"/>
    <p:sldId id="3091" r:id="rId18"/>
    <p:sldId id="3092" r:id="rId19"/>
    <p:sldId id="3093" r:id="rId20"/>
    <p:sldId id="3094" r:id="rId21"/>
    <p:sldId id="3095" r:id="rId22"/>
    <p:sldId id="3096" r:id="rId23"/>
    <p:sldId id="3097" r:id="rId24"/>
    <p:sldId id="3098" r:id="rId25"/>
    <p:sldId id="3099" r:id="rId26"/>
    <p:sldId id="3100" r:id="rId27"/>
    <p:sldId id="3101" r:id="rId28"/>
    <p:sldId id="3102" r:id="rId29"/>
    <p:sldId id="3103" r:id="rId30"/>
    <p:sldId id="3104" r:id="rId31"/>
    <p:sldId id="3105" r:id="rId32"/>
    <p:sldId id="3106" r:id="rId33"/>
    <p:sldId id="3107" r:id="rId34"/>
    <p:sldId id="3108" r:id="rId35"/>
    <p:sldId id="3109" r:id="rId36"/>
    <p:sldId id="3110" r:id="rId37"/>
    <p:sldId id="3111" r:id="rId38"/>
    <p:sldId id="3112" r:id="rId39"/>
    <p:sldId id="3113" r:id="rId40"/>
    <p:sldId id="3114" r:id="rId41"/>
    <p:sldId id="3115" r:id="rId42"/>
    <p:sldId id="3116" r:id="rId43"/>
    <p:sldId id="3117" r:id="rId44"/>
    <p:sldId id="3118" r:id="rId45"/>
    <p:sldId id="3119" r:id="rId46"/>
    <p:sldId id="3120" r:id="rId47"/>
    <p:sldId id="3121" r:id="rId48"/>
    <p:sldId id="3122" r:id="rId49"/>
    <p:sldId id="3123" r:id="rId50"/>
    <p:sldId id="3124" r:id="rId51"/>
    <p:sldId id="3125" r:id="rId52"/>
    <p:sldId id="3126" r:id="rId53"/>
    <p:sldId id="3127" r:id="rId54"/>
    <p:sldId id="3128" r:id="rId55"/>
    <p:sldId id="3129" r:id="rId56"/>
    <p:sldId id="3130" r:id="rId57"/>
    <p:sldId id="3131" r:id="rId58"/>
    <p:sldId id="3132" r:id="rId59"/>
    <p:sldId id="3133" r:id="rId60"/>
    <p:sldId id="3134" r:id="rId61"/>
    <p:sldId id="3135" r:id="rId62"/>
    <p:sldId id="3136" r:id="rId63"/>
    <p:sldId id="3137" r:id="rId64"/>
    <p:sldId id="3138" r:id="rId65"/>
    <p:sldId id="3139" r:id="rId66"/>
    <p:sldId id="3140" r:id="rId67"/>
    <p:sldId id="3141" r:id="rId68"/>
    <p:sldId id="3142" r:id="rId69"/>
    <p:sldId id="3143" r:id="rId70"/>
    <p:sldId id="3144" r:id="rId71"/>
    <p:sldId id="3145" r:id="rId72"/>
    <p:sldId id="3146" r:id="rId73"/>
    <p:sldId id="3147" r:id="rId74"/>
    <p:sldId id="3148" r:id="rId75"/>
    <p:sldId id="3149" r:id="rId76"/>
    <p:sldId id="3150" r:id="rId77"/>
    <p:sldId id="3151" r:id="rId78"/>
    <p:sldId id="3152" r:id="rId79"/>
    <p:sldId id="3153" r:id="rId80"/>
    <p:sldId id="3154" r:id="rId81"/>
    <p:sldId id="3155" r:id="rId82"/>
    <p:sldId id="3220" r:id="rId83"/>
    <p:sldId id="3156" r:id="rId84"/>
    <p:sldId id="3157" r:id="rId85"/>
    <p:sldId id="3158" r:id="rId86"/>
    <p:sldId id="3160" r:id="rId87"/>
    <p:sldId id="3161" r:id="rId88"/>
    <p:sldId id="3163" r:id="rId89"/>
    <p:sldId id="3223" r:id="rId90"/>
    <p:sldId id="3164" r:id="rId91"/>
    <p:sldId id="3165" r:id="rId92"/>
    <p:sldId id="3166" r:id="rId93"/>
    <p:sldId id="3167" r:id="rId94"/>
    <p:sldId id="3168" r:id="rId95"/>
    <p:sldId id="3169" r:id="rId96"/>
    <p:sldId id="3170" r:id="rId97"/>
    <p:sldId id="3171" r:id="rId98"/>
    <p:sldId id="3172" r:id="rId99"/>
    <p:sldId id="3173" r:id="rId100"/>
    <p:sldId id="3174" r:id="rId101"/>
    <p:sldId id="3175" r:id="rId102"/>
    <p:sldId id="3176" r:id="rId103"/>
    <p:sldId id="3177" r:id="rId104"/>
    <p:sldId id="3178" r:id="rId105"/>
    <p:sldId id="3179" r:id="rId106"/>
    <p:sldId id="3180" r:id="rId107"/>
    <p:sldId id="3181" r:id="rId108"/>
    <p:sldId id="3221" r:id="rId109"/>
    <p:sldId id="3182" r:id="rId110"/>
    <p:sldId id="3183" r:id="rId111"/>
    <p:sldId id="3184" r:id="rId112"/>
    <p:sldId id="3185" r:id="rId113"/>
    <p:sldId id="3186" r:id="rId114"/>
    <p:sldId id="3187" r:id="rId115"/>
    <p:sldId id="3188" r:id="rId116"/>
    <p:sldId id="3189" r:id="rId117"/>
    <p:sldId id="3190" r:id="rId118"/>
    <p:sldId id="3191" r:id="rId119"/>
    <p:sldId id="3192" r:id="rId120"/>
    <p:sldId id="3193" r:id="rId121"/>
    <p:sldId id="3194" r:id="rId122"/>
    <p:sldId id="3195" r:id="rId123"/>
    <p:sldId id="3196" r:id="rId124"/>
    <p:sldId id="3197" r:id="rId125"/>
    <p:sldId id="3198" r:id="rId126"/>
    <p:sldId id="3199" r:id="rId127"/>
    <p:sldId id="3200" r:id="rId128"/>
    <p:sldId id="3222" r:id="rId129"/>
    <p:sldId id="3201" r:id="rId130"/>
    <p:sldId id="3202" r:id="rId131"/>
    <p:sldId id="3203" r:id="rId132"/>
    <p:sldId id="3204" r:id="rId133"/>
    <p:sldId id="3205" r:id="rId134"/>
    <p:sldId id="3206" r:id="rId135"/>
    <p:sldId id="3207" r:id="rId136"/>
    <p:sldId id="3208" r:id="rId137"/>
    <p:sldId id="3209" r:id="rId138"/>
    <p:sldId id="3210" r:id="rId139"/>
    <p:sldId id="3211" r:id="rId140"/>
    <p:sldId id="3212" r:id="rId141"/>
    <p:sldId id="3213" r:id="rId142"/>
    <p:sldId id="3214" r:id="rId143"/>
    <p:sldId id="3215" r:id="rId144"/>
    <p:sldId id="3216" r:id="rId145"/>
    <p:sldId id="3217" r:id="rId146"/>
    <p:sldId id="3224" r:id="rId147"/>
    <p:sldId id="3218" r:id="rId148"/>
  </p:sldIdLst>
  <p:sldSz cx="9144000" cy="6858000" type="screen4x3"/>
  <p:notesSz cx="6950075" cy="9236075"/>
  <p:custDataLst>
    <p:tags r:id="rId1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8" clrIdx="0">
    <p:extLst>
      <p:ext uri="{19B8F6BF-5375-455C-9EA6-DF929625EA0E}">
        <p15:presenceInfo xmlns:p15="http://schemas.microsoft.com/office/powerpoint/2012/main" userId="S::bkostka@roopco.com::5bf04b9e-3f2b-4203-8d7a-b84b746d51c3" providerId="AD"/>
      </p:ext>
    </p:extLst>
  </p:cmAuthor>
  <p:cmAuthor id="2" name="Joe Toula" initials="JT" lastIdx="17" clrIdx="1">
    <p:extLst>
      <p:ext uri="{19B8F6BF-5375-455C-9EA6-DF929625EA0E}">
        <p15:presenceInfo xmlns:p15="http://schemas.microsoft.com/office/powerpoint/2012/main" userId="S::jtoula@rpminc.com::2df48d24-f262-454e-ad9c-9a6f9fc72b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76D5FF"/>
    <a:srgbClr val="3CA48E"/>
    <a:srgbClr val="0098FF"/>
    <a:srgbClr val="56DA98"/>
    <a:srgbClr val="56CEA0"/>
    <a:srgbClr val="008AFF"/>
    <a:srgbClr val="41EFCD"/>
    <a:srgbClr val="67F7FF"/>
    <a:srgbClr val="45B4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A21C12-107D-40B1-A277-953C3871C887}" v="114" dt="2023-08-15T13:23:54.3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36" autoAdjust="0"/>
    <p:restoredTop sz="93792" autoAdjust="0"/>
  </p:normalViewPr>
  <p:slideViewPr>
    <p:cSldViewPr snapToGrid="0">
      <p:cViewPr varScale="1">
        <p:scale>
          <a:sx n="107" d="100"/>
          <a:sy n="107" d="100"/>
        </p:scale>
        <p:origin x="1464" y="120"/>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63" Type="http://schemas.openxmlformats.org/officeDocument/2006/relationships/slide" Target="slides/slide59.xml"/><Relationship Id="rId84" Type="http://schemas.openxmlformats.org/officeDocument/2006/relationships/slide" Target="slides/slide80.xml"/><Relationship Id="rId138" Type="http://schemas.openxmlformats.org/officeDocument/2006/relationships/slide" Target="slides/slide134.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53" Type="http://schemas.openxmlformats.org/officeDocument/2006/relationships/slide" Target="slides/slide49.xml"/><Relationship Id="rId74" Type="http://schemas.openxmlformats.org/officeDocument/2006/relationships/slide" Target="slides/slide70.xml"/><Relationship Id="rId128" Type="http://schemas.openxmlformats.org/officeDocument/2006/relationships/slide" Target="slides/slide124.xml"/><Relationship Id="rId149" Type="http://schemas.openxmlformats.org/officeDocument/2006/relationships/notesMaster" Target="notesMasters/notesMaster1.xml"/><Relationship Id="rId5" Type="http://schemas.openxmlformats.org/officeDocument/2006/relationships/slide" Target="slides/slide1.xml"/><Relationship Id="rId95" Type="http://schemas.openxmlformats.org/officeDocument/2006/relationships/slide" Target="slides/slide91.xml"/><Relationship Id="rId22" Type="http://schemas.openxmlformats.org/officeDocument/2006/relationships/slide" Target="slides/slide18.xml"/><Relationship Id="rId43" Type="http://schemas.openxmlformats.org/officeDocument/2006/relationships/slide" Target="slides/slide39.xml"/><Relationship Id="rId64" Type="http://schemas.openxmlformats.org/officeDocument/2006/relationships/slide" Target="slides/slide60.xml"/><Relationship Id="rId118" Type="http://schemas.openxmlformats.org/officeDocument/2006/relationships/slide" Target="slides/slide114.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tags" Target="tags/tag1.xml"/><Relationship Id="rId155" Type="http://schemas.openxmlformats.org/officeDocument/2006/relationships/tableStyles" Target="tableStyles.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0" Type="http://schemas.openxmlformats.org/officeDocument/2006/relationships/slide" Target="slides/slide126.xml"/><Relationship Id="rId135" Type="http://schemas.openxmlformats.org/officeDocument/2006/relationships/slide" Target="slides/slide131.xml"/><Relationship Id="rId151" Type="http://schemas.openxmlformats.org/officeDocument/2006/relationships/commentAuthors" Target="commentAuthors.xml"/><Relationship Id="rId156" Type="http://schemas.microsoft.com/office/2016/11/relationships/changesInfo" Target="changesInfos/changesInfo1.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viewProps" Target="viewProps.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48" Type="http://schemas.openxmlformats.org/officeDocument/2006/relationships/slide" Target="slides/slide144.xml"/><Relationship Id="rId4" Type="http://schemas.openxmlformats.org/officeDocument/2006/relationships/slideMaster" Target="slideMasters/slideMaster1.xml"/><Relationship Id="rId9" Type="http://schemas.openxmlformats.org/officeDocument/2006/relationships/slide" Target="slides/slide5.xml"/><Relationship Id="rId26" Type="http://schemas.openxmlformats.org/officeDocument/2006/relationships/slide" Target="slides/slide22.xml"/><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theme" Target="theme/theme1.xml"/><Relationship Id="rId16" Type="http://schemas.openxmlformats.org/officeDocument/2006/relationships/slide" Target="slides/slide12.xml"/><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4A21C12-107D-40B1-A277-953C3871C887}"/>
    <pc:docChg chg="undo custSel addSld delSld modSld">
      <pc:chgData name="Shelley Earl" userId="4951d46f-b647-4b3c-b822-5808962dcca8" providerId="ADAL" clId="{C4A21C12-107D-40B1-A277-953C3871C887}" dt="2023-08-15T13:24:11.303" v="698" actId="122"/>
      <pc:docMkLst>
        <pc:docMk/>
      </pc:docMkLst>
      <pc:sldChg chg="modSp mod">
        <pc:chgData name="Shelley Earl" userId="4951d46f-b647-4b3c-b822-5808962dcca8" providerId="ADAL" clId="{C4A21C12-107D-40B1-A277-953C3871C887}" dt="2023-08-14T17:12:58.556" v="506" actId="255"/>
        <pc:sldMkLst>
          <pc:docMk/>
          <pc:sldMk cId="1300867260" sldId="256"/>
        </pc:sldMkLst>
        <pc:spChg chg="mod">
          <ac:chgData name="Shelley Earl" userId="4951d46f-b647-4b3c-b822-5808962dcca8" providerId="ADAL" clId="{C4A21C12-107D-40B1-A277-953C3871C887}" dt="2023-08-14T17:12:58.556" v="506" actId="255"/>
          <ac:spMkLst>
            <pc:docMk/>
            <pc:sldMk cId="1300867260" sldId="256"/>
            <ac:spMk id="3" creationId="{00000000-0000-0000-0000-000000000000}"/>
          </ac:spMkLst>
        </pc:spChg>
      </pc:sldChg>
      <pc:sldChg chg="modSp mod">
        <pc:chgData name="Shelley Earl" userId="4951d46f-b647-4b3c-b822-5808962dcca8" providerId="ADAL" clId="{C4A21C12-107D-40B1-A277-953C3871C887}" dt="2023-08-15T12:52:03.793" v="599" actId="20577"/>
        <pc:sldMkLst>
          <pc:docMk/>
          <pc:sldMk cId="1520262264" sldId="3079"/>
        </pc:sldMkLst>
        <pc:spChg chg="mod">
          <ac:chgData name="Shelley Earl" userId="4951d46f-b647-4b3c-b822-5808962dcca8" providerId="ADAL" clId="{C4A21C12-107D-40B1-A277-953C3871C887}" dt="2023-08-11T20:21:41.552" v="10" actId="255"/>
          <ac:spMkLst>
            <pc:docMk/>
            <pc:sldMk cId="1520262264" sldId="3079"/>
            <ac:spMk id="2" creationId="{21FF5FBC-3037-4D3F-8933-E634C55924D7}"/>
          </ac:spMkLst>
        </pc:spChg>
        <pc:spChg chg="mod">
          <ac:chgData name="Shelley Earl" userId="4951d46f-b647-4b3c-b822-5808962dcca8" providerId="ADAL" clId="{C4A21C12-107D-40B1-A277-953C3871C887}" dt="2023-08-15T12:52:03.793" v="599" actId="20577"/>
          <ac:spMkLst>
            <pc:docMk/>
            <pc:sldMk cId="1520262264" sldId="3079"/>
            <ac:spMk id="3" creationId="{393FB37D-6618-4F34-953E-969C30912F90}"/>
          </ac:spMkLst>
        </pc:spChg>
      </pc:sldChg>
      <pc:sldChg chg="modSp mod">
        <pc:chgData name="Shelley Earl" userId="4951d46f-b647-4b3c-b822-5808962dcca8" providerId="ADAL" clId="{C4A21C12-107D-40B1-A277-953C3871C887}" dt="2023-08-11T20:21:29.318" v="8" actId="1076"/>
        <pc:sldMkLst>
          <pc:docMk/>
          <pc:sldMk cId="567790838" sldId="3081"/>
        </pc:sldMkLst>
        <pc:spChg chg="mod">
          <ac:chgData name="Shelley Earl" userId="4951d46f-b647-4b3c-b822-5808962dcca8" providerId="ADAL" clId="{C4A21C12-107D-40B1-A277-953C3871C887}" dt="2023-08-11T20:21:29.318" v="8" actId="1076"/>
          <ac:spMkLst>
            <pc:docMk/>
            <pc:sldMk cId="567790838" sldId="3081"/>
            <ac:spMk id="3" creationId="{393FB37D-6618-4F34-953E-969C30912F90}"/>
          </ac:spMkLst>
        </pc:spChg>
      </pc:sldChg>
      <pc:sldChg chg="addSp delSp modSp mod modClrScheme chgLayout">
        <pc:chgData name="Shelley Earl" userId="4951d46f-b647-4b3c-b822-5808962dcca8" providerId="ADAL" clId="{C4A21C12-107D-40B1-A277-953C3871C887}" dt="2023-08-14T15:18:03.193" v="34" actId="962"/>
        <pc:sldMkLst>
          <pc:docMk/>
          <pc:sldMk cId="504341118" sldId="3082"/>
        </pc:sldMkLst>
        <pc:spChg chg="mod ord">
          <ac:chgData name="Shelley Earl" userId="4951d46f-b647-4b3c-b822-5808962dcca8" providerId="ADAL" clId="{C4A21C12-107D-40B1-A277-953C3871C887}" dt="2023-08-14T15:14:19.150" v="31" actId="26606"/>
          <ac:spMkLst>
            <pc:docMk/>
            <pc:sldMk cId="504341118" sldId="3082"/>
            <ac:spMk id="2" creationId="{21FF5FBC-3037-4D3F-8933-E634C55924D7}"/>
          </ac:spMkLst>
        </pc:spChg>
        <pc:spChg chg="add del mod ord">
          <ac:chgData name="Shelley Earl" userId="4951d46f-b647-4b3c-b822-5808962dcca8" providerId="ADAL" clId="{C4A21C12-107D-40B1-A277-953C3871C887}" dt="2023-08-14T15:14:19.150" v="31" actId="26606"/>
          <ac:spMkLst>
            <pc:docMk/>
            <pc:sldMk cId="504341118" sldId="3082"/>
            <ac:spMk id="3" creationId="{F7B29001-521D-71E7-E567-52B6DE7FC9F9}"/>
          </ac:spMkLst>
        </pc:spChg>
        <pc:spChg chg="del mod">
          <ac:chgData name="Shelley Earl" userId="4951d46f-b647-4b3c-b822-5808962dcca8" providerId="ADAL" clId="{C4A21C12-107D-40B1-A277-953C3871C887}" dt="2023-08-14T15:14:19.150" v="31" actId="26606"/>
          <ac:spMkLst>
            <pc:docMk/>
            <pc:sldMk cId="504341118" sldId="3082"/>
            <ac:spMk id="4" creationId="{7530AF6C-CEEF-CD84-A06F-693BAA6473F6}"/>
          </ac:spMkLst>
        </pc:spChg>
        <pc:spChg chg="mod ord modVis">
          <ac:chgData name="Shelley Earl" userId="4951d46f-b647-4b3c-b822-5808962dcca8" providerId="ADAL" clId="{C4A21C12-107D-40B1-A277-953C3871C887}" dt="2023-08-14T15:14:19.150" v="31" actId="26606"/>
          <ac:spMkLst>
            <pc:docMk/>
            <pc:sldMk cId="504341118" sldId="3082"/>
            <ac:spMk id="5" creationId="{4272448E-1CAA-4EF1-A9C1-52547A35B05F}"/>
          </ac:spMkLst>
        </pc:spChg>
        <pc:spChg chg="add del mod ord">
          <ac:chgData name="Shelley Earl" userId="4951d46f-b647-4b3c-b822-5808962dcca8" providerId="ADAL" clId="{C4A21C12-107D-40B1-A277-953C3871C887}" dt="2023-08-14T15:14:19.150" v="31" actId="26606"/>
          <ac:spMkLst>
            <pc:docMk/>
            <pc:sldMk cId="504341118" sldId="3082"/>
            <ac:spMk id="6" creationId="{D8A8E438-E10E-43BD-9298-4DB2612B17EE}"/>
          </ac:spMkLst>
        </pc:spChg>
        <pc:spChg chg="add del">
          <ac:chgData name="Shelley Earl" userId="4951d46f-b647-4b3c-b822-5808962dcca8" providerId="ADAL" clId="{C4A21C12-107D-40B1-A277-953C3871C887}" dt="2023-08-14T15:18:01.592" v="32" actId="931"/>
          <ac:spMkLst>
            <pc:docMk/>
            <pc:sldMk cId="504341118" sldId="3082"/>
            <ac:spMk id="12" creationId="{ACA1DFAC-9EC1-98C3-77FB-F0C3E7AE6B33}"/>
          </ac:spMkLst>
        </pc:spChg>
        <pc:graphicFrameChg chg="add">
          <ac:chgData name="Shelley Earl" userId="4951d46f-b647-4b3c-b822-5808962dcca8" providerId="ADAL" clId="{C4A21C12-107D-40B1-A277-953C3871C887}" dt="2023-08-14T15:14:19.150" v="31" actId="26606"/>
          <ac:graphicFrameMkLst>
            <pc:docMk/>
            <pc:sldMk cId="504341118" sldId="3082"/>
            <ac:graphicFrameMk id="8" creationId="{FA06ECBC-29C0-BCCC-252E-A8091AA85ABD}"/>
          </ac:graphicFrameMkLst>
        </pc:graphicFrameChg>
        <pc:picChg chg="add mod">
          <ac:chgData name="Shelley Earl" userId="4951d46f-b647-4b3c-b822-5808962dcca8" providerId="ADAL" clId="{C4A21C12-107D-40B1-A277-953C3871C887}" dt="2023-08-14T15:18:03.193" v="34" actId="962"/>
          <ac:picMkLst>
            <pc:docMk/>
            <pc:sldMk cId="504341118" sldId="3082"/>
            <ac:picMk id="9" creationId="{63F9C1B7-E13F-CFD5-FD70-42068716A066}"/>
          </ac:picMkLst>
        </pc:picChg>
      </pc:sldChg>
      <pc:sldChg chg="modSp mod">
        <pc:chgData name="Shelley Earl" userId="4951d46f-b647-4b3c-b822-5808962dcca8" providerId="ADAL" clId="{C4A21C12-107D-40B1-A277-953C3871C887}" dt="2023-08-11T20:22:35.437" v="24" actId="688"/>
        <pc:sldMkLst>
          <pc:docMk/>
          <pc:sldMk cId="3923145254" sldId="3083"/>
        </pc:sldMkLst>
        <pc:picChg chg="mod">
          <ac:chgData name="Shelley Earl" userId="4951d46f-b647-4b3c-b822-5808962dcca8" providerId="ADAL" clId="{C4A21C12-107D-40B1-A277-953C3871C887}" dt="2023-08-11T20:22:35.437" v="24" actId="688"/>
          <ac:picMkLst>
            <pc:docMk/>
            <pc:sldMk cId="3923145254" sldId="3083"/>
            <ac:picMk id="6" creationId="{8BE666DB-2117-0DB4-53E8-C98B82168018}"/>
          </ac:picMkLst>
        </pc:picChg>
      </pc:sldChg>
      <pc:sldChg chg="addSp delSp modSp mod modClrScheme chgLayout">
        <pc:chgData name="Shelley Earl" userId="4951d46f-b647-4b3c-b822-5808962dcca8" providerId="ADAL" clId="{C4A21C12-107D-40B1-A277-953C3871C887}" dt="2023-08-14T15:19:39.441" v="39" actId="1076"/>
        <pc:sldMkLst>
          <pc:docMk/>
          <pc:sldMk cId="1356947025" sldId="3084"/>
        </pc:sldMkLst>
        <pc:spChg chg="mod">
          <ac:chgData name="Shelley Earl" userId="4951d46f-b647-4b3c-b822-5808962dcca8" providerId="ADAL" clId="{C4A21C12-107D-40B1-A277-953C3871C887}" dt="2023-08-14T15:18:33.432" v="35" actId="26606"/>
          <ac:spMkLst>
            <pc:docMk/>
            <pc:sldMk cId="1356947025" sldId="3084"/>
            <ac:spMk id="2" creationId="{21FF5FBC-3037-4D3F-8933-E634C55924D7}"/>
          </ac:spMkLst>
        </pc:spChg>
        <pc:spChg chg="mod">
          <ac:chgData name="Shelley Earl" userId="4951d46f-b647-4b3c-b822-5808962dcca8" providerId="ADAL" clId="{C4A21C12-107D-40B1-A277-953C3871C887}" dt="2023-08-14T15:19:39.441" v="39" actId="1076"/>
          <ac:spMkLst>
            <pc:docMk/>
            <pc:sldMk cId="1356947025" sldId="3084"/>
            <ac:spMk id="4" creationId="{7530AF6C-CEEF-CD84-A06F-693BAA6473F6}"/>
          </ac:spMkLst>
        </pc:spChg>
        <pc:spChg chg="mod ord modVis">
          <ac:chgData name="Shelley Earl" userId="4951d46f-b647-4b3c-b822-5808962dcca8" providerId="ADAL" clId="{C4A21C12-107D-40B1-A277-953C3871C887}" dt="2023-08-14T15:18:33.432" v="35" actId="26606"/>
          <ac:spMkLst>
            <pc:docMk/>
            <pc:sldMk cId="1356947025" sldId="3084"/>
            <ac:spMk id="5" creationId="{4272448E-1CAA-4EF1-A9C1-52547A35B05F}"/>
          </ac:spMkLst>
        </pc:spChg>
        <pc:spChg chg="add del mod">
          <ac:chgData name="Shelley Earl" userId="4951d46f-b647-4b3c-b822-5808962dcca8" providerId="ADAL" clId="{C4A21C12-107D-40B1-A277-953C3871C887}" dt="2023-08-14T15:19:29.337" v="37" actId="931"/>
          <ac:spMkLst>
            <pc:docMk/>
            <pc:sldMk cId="1356947025" sldId="3084"/>
            <ac:spMk id="10" creationId="{8E34ABB0-7E7A-FF43-9F10-E0099F7E9D1A}"/>
          </ac:spMkLst>
        </pc:spChg>
        <pc:picChg chg="add mod">
          <ac:chgData name="Shelley Earl" userId="4951d46f-b647-4b3c-b822-5808962dcca8" providerId="ADAL" clId="{C4A21C12-107D-40B1-A277-953C3871C887}" dt="2023-08-14T15:19:30.721" v="38" actId="27614"/>
          <ac:picMkLst>
            <pc:docMk/>
            <pc:sldMk cId="1356947025" sldId="3084"/>
            <ac:picMk id="6" creationId="{8932DAF1-56B3-71CD-EE11-FBDF213FEF56}"/>
          </ac:picMkLst>
        </pc:picChg>
      </pc:sldChg>
      <pc:sldChg chg="modSp mod">
        <pc:chgData name="Shelley Earl" userId="4951d46f-b647-4b3c-b822-5808962dcca8" providerId="ADAL" clId="{C4A21C12-107D-40B1-A277-953C3871C887}" dt="2023-08-14T15:21:14.427" v="51" actId="1076"/>
        <pc:sldMkLst>
          <pc:docMk/>
          <pc:sldMk cId="2060018589" sldId="3086"/>
        </pc:sldMkLst>
        <pc:spChg chg="mod">
          <ac:chgData name="Shelley Earl" userId="4951d46f-b647-4b3c-b822-5808962dcca8" providerId="ADAL" clId="{C4A21C12-107D-40B1-A277-953C3871C887}" dt="2023-08-14T15:21:04.341" v="49" actId="1076"/>
          <ac:spMkLst>
            <pc:docMk/>
            <pc:sldMk cId="2060018589" sldId="3086"/>
            <ac:spMk id="2" creationId="{BA5CEB6B-2EA3-EC2E-608D-27DB9FFED60B}"/>
          </ac:spMkLst>
        </pc:spChg>
        <pc:spChg chg="mod">
          <ac:chgData name="Shelley Earl" userId="4951d46f-b647-4b3c-b822-5808962dcca8" providerId="ADAL" clId="{C4A21C12-107D-40B1-A277-953C3871C887}" dt="2023-08-14T15:21:14.427" v="51" actId="1076"/>
          <ac:spMkLst>
            <pc:docMk/>
            <pc:sldMk cId="2060018589" sldId="3086"/>
            <ac:spMk id="3" creationId="{CA2FF7CF-60E7-D199-0484-6A52CA448A74}"/>
          </ac:spMkLst>
        </pc:spChg>
        <pc:picChg chg="mod">
          <ac:chgData name="Shelley Earl" userId="4951d46f-b647-4b3c-b822-5808962dcca8" providerId="ADAL" clId="{C4A21C12-107D-40B1-A277-953C3871C887}" dt="2023-08-14T15:20:41.844" v="43" actId="1076"/>
          <ac:picMkLst>
            <pc:docMk/>
            <pc:sldMk cId="2060018589" sldId="3086"/>
            <ac:picMk id="6" creationId="{55D63FA7-36FC-399D-D3E2-6BBF1A6BFB5A}"/>
          </ac:picMkLst>
        </pc:picChg>
      </pc:sldChg>
      <pc:sldChg chg="modSp mod">
        <pc:chgData name="Shelley Earl" userId="4951d46f-b647-4b3c-b822-5808962dcca8" providerId="ADAL" clId="{C4A21C12-107D-40B1-A277-953C3871C887}" dt="2023-08-14T17:18:45.232" v="520" actId="1076"/>
        <pc:sldMkLst>
          <pc:docMk/>
          <pc:sldMk cId="3305612674" sldId="3087"/>
        </pc:sldMkLst>
        <pc:spChg chg="mod">
          <ac:chgData name="Shelley Earl" userId="4951d46f-b647-4b3c-b822-5808962dcca8" providerId="ADAL" clId="{C4A21C12-107D-40B1-A277-953C3871C887}" dt="2023-08-14T17:18:45.232" v="520" actId="1076"/>
          <ac:spMkLst>
            <pc:docMk/>
            <pc:sldMk cId="3305612674" sldId="3087"/>
            <ac:spMk id="2" creationId="{1E9C0136-1CD9-3D8E-13EF-3552BA21D742}"/>
          </ac:spMkLst>
        </pc:spChg>
        <pc:spChg chg="mod">
          <ac:chgData name="Shelley Earl" userId="4951d46f-b647-4b3c-b822-5808962dcca8" providerId="ADAL" clId="{C4A21C12-107D-40B1-A277-953C3871C887}" dt="2023-08-14T15:21:21.695" v="52" actId="1076"/>
          <ac:spMkLst>
            <pc:docMk/>
            <pc:sldMk cId="3305612674" sldId="3087"/>
            <ac:spMk id="3" creationId="{2C79AA37-5BA2-E25E-70BC-42957258EBB5}"/>
          </ac:spMkLst>
        </pc:spChg>
      </pc:sldChg>
      <pc:sldChg chg="modSp mod">
        <pc:chgData name="Shelley Earl" userId="4951d46f-b647-4b3c-b822-5808962dcca8" providerId="ADAL" clId="{C4A21C12-107D-40B1-A277-953C3871C887}" dt="2023-08-14T17:18:38.462" v="519" actId="1076"/>
        <pc:sldMkLst>
          <pc:docMk/>
          <pc:sldMk cId="1066022803" sldId="3088"/>
        </pc:sldMkLst>
        <pc:spChg chg="mod">
          <ac:chgData name="Shelley Earl" userId="4951d46f-b647-4b3c-b822-5808962dcca8" providerId="ADAL" clId="{C4A21C12-107D-40B1-A277-953C3871C887}" dt="2023-08-14T17:18:38.462" v="519" actId="1076"/>
          <ac:spMkLst>
            <pc:docMk/>
            <pc:sldMk cId="1066022803" sldId="3088"/>
            <ac:spMk id="2" creationId="{008A4A6F-A36A-012A-BAC7-4B2457321899}"/>
          </ac:spMkLst>
        </pc:spChg>
        <pc:spChg chg="mod">
          <ac:chgData name="Shelley Earl" userId="4951d46f-b647-4b3c-b822-5808962dcca8" providerId="ADAL" clId="{C4A21C12-107D-40B1-A277-953C3871C887}" dt="2023-08-14T15:21:28.190" v="53" actId="1076"/>
          <ac:spMkLst>
            <pc:docMk/>
            <pc:sldMk cId="1066022803" sldId="3088"/>
            <ac:spMk id="3" creationId="{85C80BD0-D8BE-6B18-190D-E0620234E3C3}"/>
          </ac:spMkLst>
        </pc:spChg>
      </pc:sldChg>
      <pc:sldChg chg="modSp mod">
        <pc:chgData name="Shelley Earl" userId="4951d46f-b647-4b3c-b822-5808962dcca8" providerId="ADAL" clId="{C4A21C12-107D-40B1-A277-953C3871C887}" dt="2023-08-14T15:21:44.329" v="56" actId="255"/>
        <pc:sldMkLst>
          <pc:docMk/>
          <pc:sldMk cId="3112748099" sldId="3089"/>
        </pc:sldMkLst>
        <pc:spChg chg="mod">
          <ac:chgData name="Shelley Earl" userId="4951d46f-b647-4b3c-b822-5808962dcca8" providerId="ADAL" clId="{C4A21C12-107D-40B1-A277-953C3871C887}" dt="2023-08-14T15:21:44.329" v="56" actId="255"/>
          <ac:spMkLst>
            <pc:docMk/>
            <pc:sldMk cId="3112748099" sldId="3089"/>
            <ac:spMk id="2" creationId="{008A4A6F-A36A-012A-BAC7-4B2457321899}"/>
          </ac:spMkLst>
        </pc:spChg>
        <pc:spChg chg="mod">
          <ac:chgData name="Shelley Earl" userId="4951d46f-b647-4b3c-b822-5808962dcca8" providerId="ADAL" clId="{C4A21C12-107D-40B1-A277-953C3871C887}" dt="2023-08-14T15:21:33.212" v="54" actId="1076"/>
          <ac:spMkLst>
            <pc:docMk/>
            <pc:sldMk cId="3112748099" sldId="3089"/>
            <ac:spMk id="3" creationId="{85C80BD0-D8BE-6B18-190D-E0620234E3C3}"/>
          </ac:spMkLst>
        </pc:spChg>
        <pc:picChg chg="mod">
          <ac:chgData name="Shelley Earl" userId="4951d46f-b647-4b3c-b822-5808962dcca8" providerId="ADAL" clId="{C4A21C12-107D-40B1-A277-953C3871C887}" dt="2023-08-14T15:21:36.026" v="55" actId="1076"/>
          <ac:picMkLst>
            <pc:docMk/>
            <pc:sldMk cId="3112748099" sldId="3089"/>
            <ac:picMk id="4" creationId="{1027DD51-562F-C1AE-E3FA-AFBF893BC7DE}"/>
          </ac:picMkLst>
        </pc:picChg>
      </pc:sldChg>
      <pc:sldChg chg="modSp mod">
        <pc:chgData name="Shelley Earl" userId="4951d46f-b647-4b3c-b822-5808962dcca8" providerId="ADAL" clId="{C4A21C12-107D-40B1-A277-953C3871C887}" dt="2023-08-15T12:44:43.432" v="535" actId="120"/>
        <pc:sldMkLst>
          <pc:docMk/>
          <pc:sldMk cId="2311826028" sldId="3090"/>
        </pc:sldMkLst>
        <pc:spChg chg="mod">
          <ac:chgData name="Shelley Earl" userId="4951d46f-b647-4b3c-b822-5808962dcca8" providerId="ADAL" clId="{C4A21C12-107D-40B1-A277-953C3871C887}" dt="2023-08-15T12:44:43.432" v="535" actId="120"/>
          <ac:spMkLst>
            <pc:docMk/>
            <pc:sldMk cId="2311826028" sldId="3090"/>
            <ac:spMk id="3" creationId="{624011B1-7492-6971-CCE1-AEF3F0B76710}"/>
          </ac:spMkLst>
        </pc:spChg>
      </pc:sldChg>
      <pc:sldChg chg="modSp mod">
        <pc:chgData name="Shelley Earl" userId="4951d46f-b647-4b3c-b822-5808962dcca8" providerId="ADAL" clId="{C4A21C12-107D-40B1-A277-953C3871C887}" dt="2023-08-11T20:01:52.867" v="6" actId="1076"/>
        <pc:sldMkLst>
          <pc:docMk/>
          <pc:sldMk cId="3522992545" sldId="3091"/>
        </pc:sldMkLst>
        <pc:spChg chg="mod">
          <ac:chgData name="Shelley Earl" userId="4951d46f-b647-4b3c-b822-5808962dcca8" providerId="ADAL" clId="{C4A21C12-107D-40B1-A277-953C3871C887}" dt="2023-08-11T20:01:52.867" v="6" actId="1076"/>
          <ac:spMkLst>
            <pc:docMk/>
            <pc:sldMk cId="3522992545" sldId="3091"/>
            <ac:spMk id="3" creationId="{9772A89E-A4C9-826A-A66A-49B7F364F79F}"/>
          </ac:spMkLst>
        </pc:spChg>
        <pc:spChg chg="mod">
          <ac:chgData name="Shelley Earl" userId="4951d46f-b647-4b3c-b822-5808962dcca8" providerId="ADAL" clId="{C4A21C12-107D-40B1-A277-953C3871C887}" dt="2023-08-11T20:01:48.338" v="5" actId="1076"/>
          <ac:spMkLst>
            <pc:docMk/>
            <pc:sldMk cId="3522992545" sldId="3091"/>
            <ac:spMk id="4" creationId="{375CA9C8-AF74-5384-755F-BA4F846E0ADB}"/>
          </ac:spMkLst>
        </pc:spChg>
        <pc:spChg chg="mod">
          <ac:chgData name="Shelley Earl" userId="4951d46f-b647-4b3c-b822-5808962dcca8" providerId="ADAL" clId="{C4A21C12-107D-40B1-A277-953C3871C887}" dt="2023-08-11T20:01:46.571" v="4" actId="1076"/>
          <ac:spMkLst>
            <pc:docMk/>
            <pc:sldMk cId="3522992545" sldId="3091"/>
            <ac:spMk id="6" creationId="{7A978DBD-DD37-C248-2D0D-70AC82CD74FF}"/>
          </ac:spMkLst>
        </pc:spChg>
      </pc:sldChg>
      <pc:sldChg chg="addSp delSp modSp mod modClrScheme chgLayout">
        <pc:chgData name="Shelley Earl" userId="4951d46f-b647-4b3c-b822-5808962dcca8" providerId="ADAL" clId="{C4A21C12-107D-40B1-A277-953C3871C887}" dt="2023-08-14T17:19:16.671" v="524" actId="255"/>
        <pc:sldMkLst>
          <pc:docMk/>
          <pc:sldMk cId="601329782" sldId="3092"/>
        </pc:sldMkLst>
        <pc:spChg chg="mod">
          <ac:chgData name="Shelley Earl" userId="4951d46f-b647-4b3c-b822-5808962dcca8" providerId="ADAL" clId="{C4A21C12-107D-40B1-A277-953C3871C887}" dt="2023-08-14T15:28:50.923" v="81" actId="255"/>
          <ac:spMkLst>
            <pc:docMk/>
            <pc:sldMk cId="601329782" sldId="3092"/>
            <ac:spMk id="2" creationId="{468C2152-E511-C241-AA71-6C4C801C2FB8}"/>
          </ac:spMkLst>
        </pc:spChg>
        <pc:spChg chg="del mod">
          <ac:chgData name="Shelley Earl" userId="4951d46f-b647-4b3c-b822-5808962dcca8" providerId="ADAL" clId="{C4A21C12-107D-40B1-A277-953C3871C887}" dt="2023-08-14T15:22:38.121" v="61" actId="26606"/>
          <ac:spMkLst>
            <pc:docMk/>
            <pc:sldMk cId="601329782" sldId="3092"/>
            <ac:spMk id="3" creationId="{9772A89E-A4C9-826A-A66A-49B7F364F79F}"/>
          </ac:spMkLst>
        </pc:spChg>
        <pc:spChg chg="mod modVis">
          <ac:chgData name="Shelley Earl" userId="4951d46f-b647-4b3c-b822-5808962dcca8" providerId="ADAL" clId="{C4A21C12-107D-40B1-A277-953C3871C887}" dt="2023-08-14T15:22:27.493" v="59" actId="26606"/>
          <ac:spMkLst>
            <pc:docMk/>
            <pc:sldMk cId="601329782" sldId="3092"/>
            <ac:spMk id="5" creationId="{6B5E798E-E98B-594A-481B-A6F6CEBC33CF}"/>
          </ac:spMkLst>
        </pc:spChg>
        <pc:spChg chg="add del mod">
          <ac:chgData name="Shelley Earl" userId="4951d46f-b647-4b3c-b822-5808962dcca8" providerId="ADAL" clId="{C4A21C12-107D-40B1-A277-953C3871C887}" dt="2023-08-14T15:22:38.121" v="61" actId="26606"/>
          <ac:spMkLst>
            <pc:docMk/>
            <pc:sldMk cId="601329782" sldId="3092"/>
            <ac:spMk id="10" creationId="{CFC34B16-0CEE-57DD-C776-F370F2046F0B}"/>
          </ac:spMkLst>
        </pc:spChg>
        <pc:spChg chg="add del mod">
          <ac:chgData name="Shelley Earl" userId="4951d46f-b647-4b3c-b822-5808962dcca8" providerId="ADAL" clId="{C4A21C12-107D-40B1-A277-953C3871C887}" dt="2023-08-14T15:27:13.783" v="67" actId="931"/>
          <ac:spMkLst>
            <pc:docMk/>
            <pc:sldMk cId="601329782" sldId="3092"/>
            <ac:spMk id="16" creationId="{DBC2BAD1-C506-FCB0-95E4-8448F2236967}"/>
          </ac:spMkLst>
        </pc:spChg>
        <pc:graphicFrameChg chg="add mod">
          <ac:chgData name="Shelley Earl" userId="4951d46f-b647-4b3c-b822-5808962dcca8" providerId="ADAL" clId="{C4A21C12-107D-40B1-A277-953C3871C887}" dt="2023-08-14T17:19:16.671" v="524" actId="255"/>
          <ac:graphicFrameMkLst>
            <pc:docMk/>
            <pc:sldMk cId="601329782" sldId="3092"/>
            <ac:graphicFrameMk id="12" creationId="{6733A76C-FE5D-27B0-BAC6-30EFD94B74E6}"/>
          </ac:graphicFrameMkLst>
        </pc:graphicFrameChg>
        <pc:picChg chg="add mod">
          <ac:chgData name="Shelley Earl" userId="4951d46f-b647-4b3c-b822-5808962dcca8" providerId="ADAL" clId="{C4A21C12-107D-40B1-A277-953C3871C887}" dt="2023-08-14T17:19:01.582" v="522" actId="1076"/>
          <ac:picMkLst>
            <pc:docMk/>
            <pc:sldMk cId="601329782" sldId="3092"/>
            <ac:picMk id="6" creationId="{55F23332-F26D-B465-A5B1-1893AA76920A}"/>
          </ac:picMkLst>
        </pc:picChg>
      </pc:sldChg>
      <pc:sldChg chg="addSp delSp modSp mod modClrScheme chgLayout">
        <pc:chgData name="Shelley Earl" userId="4951d46f-b647-4b3c-b822-5808962dcca8" providerId="ADAL" clId="{C4A21C12-107D-40B1-A277-953C3871C887}" dt="2023-08-14T15:28:12.972" v="78" actId="1076"/>
        <pc:sldMkLst>
          <pc:docMk/>
          <pc:sldMk cId="3024337260" sldId="3093"/>
        </pc:sldMkLst>
        <pc:spChg chg="mod">
          <ac:chgData name="Shelley Earl" userId="4951d46f-b647-4b3c-b822-5808962dcca8" providerId="ADAL" clId="{C4A21C12-107D-40B1-A277-953C3871C887}" dt="2023-08-14T15:27:51.711" v="74" actId="26606"/>
          <ac:spMkLst>
            <pc:docMk/>
            <pc:sldMk cId="3024337260" sldId="3093"/>
            <ac:spMk id="2" creationId="{468C2152-E511-C241-AA71-6C4C801C2FB8}"/>
          </ac:spMkLst>
        </pc:spChg>
        <pc:spChg chg="del mod">
          <ac:chgData name="Shelley Earl" userId="4951d46f-b647-4b3c-b822-5808962dcca8" providerId="ADAL" clId="{C4A21C12-107D-40B1-A277-953C3871C887}" dt="2023-08-14T15:27:51.711" v="74" actId="26606"/>
          <ac:spMkLst>
            <pc:docMk/>
            <pc:sldMk cId="3024337260" sldId="3093"/>
            <ac:spMk id="3" creationId="{9772A89E-A4C9-826A-A66A-49B7F364F79F}"/>
          </ac:spMkLst>
        </pc:spChg>
        <pc:spChg chg="mod modVis">
          <ac:chgData name="Shelley Earl" userId="4951d46f-b647-4b3c-b822-5808962dcca8" providerId="ADAL" clId="{C4A21C12-107D-40B1-A277-953C3871C887}" dt="2023-08-14T15:27:51.711" v="74" actId="26606"/>
          <ac:spMkLst>
            <pc:docMk/>
            <pc:sldMk cId="3024337260" sldId="3093"/>
            <ac:spMk id="5" creationId="{6B5E798E-E98B-594A-481B-A6F6CEBC33CF}"/>
          </ac:spMkLst>
        </pc:spChg>
        <pc:spChg chg="add del mod">
          <ac:chgData name="Shelley Earl" userId="4951d46f-b647-4b3c-b822-5808962dcca8" providerId="ADAL" clId="{C4A21C12-107D-40B1-A277-953C3871C887}" dt="2023-08-14T15:27:55.054" v="75" actId="478"/>
          <ac:spMkLst>
            <pc:docMk/>
            <pc:sldMk cId="3024337260" sldId="3093"/>
            <ac:spMk id="11" creationId="{25BEF75A-8070-199F-4413-A7A5E9FCBEF5}"/>
          </ac:spMkLst>
        </pc:spChg>
        <pc:graphicFrameChg chg="add mod">
          <ac:chgData name="Shelley Earl" userId="4951d46f-b647-4b3c-b822-5808962dcca8" providerId="ADAL" clId="{C4A21C12-107D-40B1-A277-953C3871C887}" dt="2023-08-14T15:28:12.972" v="78" actId="1076"/>
          <ac:graphicFrameMkLst>
            <pc:docMk/>
            <pc:sldMk cId="3024337260" sldId="3093"/>
            <ac:graphicFrameMk id="7" creationId="{AA526E01-8D87-C011-D027-23DF77712686}"/>
          </ac:graphicFrameMkLst>
        </pc:graphicFrameChg>
      </pc:sldChg>
      <pc:sldChg chg="addSp delSp modSp mod modClrScheme chgLayout">
        <pc:chgData name="Shelley Earl" userId="4951d46f-b647-4b3c-b822-5808962dcca8" providerId="ADAL" clId="{C4A21C12-107D-40B1-A277-953C3871C887}" dt="2023-08-15T12:49:32.912" v="539" actId="115"/>
        <pc:sldMkLst>
          <pc:docMk/>
          <pc:sldMk cId="3556694751" sldId="3094"/>
        </pc:sldMkLst>
        <pc:spChg chg="mod">
          <ac:chgData name="Shelley Earl" userId="4951d46f-b647-4b3c-b822-5808962dcca8" providerId="ADAL" clId="{C4A21C12-107D-40B1-A277-953C3871C887}" dt="2023-08-14T15:32:01.158" v="104" actId="26606"/>
          <ac:spMkLst>
            <pc:docMk/>
            <pc:sldMk cId="3556694751" sldId="3094"/>
            <ac:spMk id="2" creationId="{468C2152-E511-C241-AA71-6C4C801C2FB8}"/>
          </ac:spMkLst>
        </pc:spChg>
        <pc:spChg chg="add del mod">
          <ac:chgData name="Shelley Earl" userId="4951d46f-b647-4b3c-b822-5808962dcca8" providerId="ADAL" clId="{C4A21C12-107D-40B1-A277-953C3871C887}" dt="2023-08-14T15:32:01.158" v="104" actId="26606"/>
          <ac:spMkLst>
            <pc:docMk/>
            <pc:sldMk cId="3556694751" sldId="3094"/>
            <ac:spMk id="3" creationId="{9772A89E-A4C9-826A-A66A-49B7F364F79F}"/>
          </ac:spMkLst>
        </pc:spChg>
        <pc:spChg chg="mod modVis">
          <ac:chgData name="Shelley Earl" userId="4951d46f-b647-4b3c-b822-5808962dcca8" providerId="ADAL" clId="{C4A21C12-107D-40B1-A277-953C3871C887}" dt="2023-08-14T15:29:49.132" v="87" actId="26606"/>
          <ac:spMkLst>
            <pc:docMk/>
            <pc:sldMk cId="3556694751" sldId="3094"/>
            <ac:spMk id="5" creationId="{6B5E798E-E98B-594A-481B-A6F6CEBC33CF}"/>
          </ac:spMkLst>
        </pc:spChg>
        <pc:spChg chg="add del mod">
          <ac:chgData name="Shelley Earl" userId="4951d46f-b647-4b3c-b822-5808962dcca8" providerId="ADAL" clId="{C4A21C12-107D-40B1-A277-953C3871C887}" dt="2023-08-14T15:31:27.928" v="100" actId="478"/>
          <ac:spMkLst>
            <pc:docMk/>
            <pc:sldMk cId="3556694751" sldId="3094"/>
            <ac:spMk id="8" creationId="{503E8C8C-0204-DDD4-9DF7-35116D973EC4}"/>
          </ac:spMkLst>
        </pc:spChg>
        <pc:spChg chg="add mod">
          <ac:chgData name="Shelley Earl" userId="4951d46f-b647-4b3c-b822-5808962dcca8" providerId="ADAL" clId="{C4A21C12-107D-40B1-A277-953C3871C887}" dt="2023-08-14T17:18:16.653" v="518" actId="26606"/>
          <ac:spMkLst>
            <pc:docMk/>
            <pc:sldMk cId="3556694751" sldId="3094"/>
            <ac:spMk id="9" creationId="{CAB4A4F6-F9B3-7B95-62AC-41838AF4C949}"/>
          </ac:spMkLst>
        </pc:spChg>
        <pc:spChg chg="add del mod">
          <ac:chgData name="Shelley Earl" userId="4951d46f-b647-4b3c-b822-5808962dcca8" providerId="ADAL" clId="{C4A21C12-107D-40B1-A277-953C3871C887}" dt="2023-08-14T15:31:26.163" v="99" actId="478"/>
          <ac:spMkLst>
            <pc:docMk/>
            <pc:sldMk cId="3556694751" sldId="3094"/>
            <ac:spMk id="10" creationId="{70657A26-E092-10DC-567F-364254AFC4D0}"/>
          </ac:spMkLst>
        </pc:spChg>
        <pc:spChg chg="add del">
          <ac:chgData name="Shelley Earl" userId="4951d46f-b647-4b3c-b822-5808962dcca8" providerId="ADAL" clId="{C4A21C12-107D-40B1-A277-953C3871C887}" dt="2023-08-14T15:29:35.100" v="86" actId="26606"/>
          <ac:spMkLst>
            <pc:docMk/>
            <pc:sldMk cId="3556694751" sldId="3094"/>
            <ac:spMk id="11" creationId="{8EBE8E3D-405C-1C0F-FAD9-8E11429E46CE}"/>
          </ac:spMkLst>
        </pc:spChg>
        <pc:spChg chg="add mod">
          <ac:chgData name="Shelley Earl" userId="4951d46f-b647-4b3c-b822-5808962dcca8" providerId="ADAL" clId="{C4A21C12-107D-40B1-A277-953C3871C887}" dt="2023-08-14T17:18:16.653" v="518" actId="26606"/>
          <ac:spMkLst>
            <pc:docMk/>
            <pc:sldMk cId="3556694751" sldId="3094"/>
            <ac:spMk id="13" creationId="{40CDEE2A-3EDF-56F2-2E7B-E81D4D2A6DEF}"/>
          </ac:spMkLst>
        </pc:spChg>
        <pc:graphicFrameChg chg="add del mod">
          <ac:chgData name="Shelley Earl" userId="4951d46f-b647-4b3c-b822-5808962dcca8" providerId="ADAL" clId="{C4A21C12-107D-40B1-A277-953C3871C887}" dt="2023-08-14T15:31:12.391" v="96" actId="478"/>
          <ac:graphicFrameMkLst>
            <pc:docMk/>
            <pc:sldMk cId="3556694751" sldId="3094"/>
            <ac:graphicFrameMk id="4" creationId="{8EF3DC2F-7EF0-B191-2E28-3B72753553FF}"/>
          </ac:graphicFrameMkLst>
        </pc:graphicFrameChg>
        <pc:graphicFrameChg chg="add del mod">
          <ac:chgData name="Shelley Earl" userId="4951d46f-b647-4b3c-b822-5808962dcca8" providerId="ADAL" clId="{C4A21C12-107D-40B1-A277-953C3871C887}" dt="2023-08-14T15:29:35.100" v="86" actId="26606"/>
          <ac:graphicFrameMkLst>
            <pc:docMk/>
            <pc:sldMk cId="3556694751" sldId="3094"/>
            <ac:graphicFrameMk id="7" creationId="{5D3D6AEE-0D10-698D-D190-2E4C6DC05700}"/>
          </ac:graphicFrameMkLst>
        </pc:graphicFrameChg>
        <pc:graphicFrameChg chg="add mod modGraphic">
          <ac:chgData name="Shelley Earl" userId="4951d46f-b647-4b3c-b822-5808962dcca8" providerId="ADAL" clId="{C4A21C12-107D-40B1-A277-953C3871C887}" dt="2023-08-15T12:49:32.912" v="539" actId="115"/>
          <ac:graphicFrameMkLst>
            <pc:docMk/>
            <pc:sldMk cId="3556694751" sldId="3094"/>
            <ac:graphicFrameMk id="12" creationId="{9C2900C5-D71B-A933-9CF3-996F19299A20}"/>
          </ac:graphicFrameMkLst>
        </pc:graphicFrameChg>
      </pc:sldChg>
      <pc:sldChg chg="addSp delSp modSp mod modClrScheme chgLayout">
        <pc:chgData name="Shelley Earl" userId="4951d46f-b647-4b3c-b822-5808962dcca8" providerId="ADAL" clId="{C4A21C12-107D-40B1-A277-953C3871C887}" dt="2023-08-14T17:17:46.590" v="515" actId="255"/>
        <pc:sldMkLst>
          <pc:docMk/>
          <pc:sldMk cId="1545714621" sldId="3095"/>
        </pc:sldMkLst>
        <pc:spChg chg="mod">
          <ac:chgData name="Shelley Earl" userId="4951d46f-b647-4b3c-b822-5808962dcca8" providerId="ADAL" clId="{C4A21C12-107D-40B1-A277-953C3871C887}" dt="2023-08-14T17:17:34.411" v="511" actId="962"/>
          <ac:spMkLst>
            <pc:docMk/>
            <pc:sldMk cId="1545714621" sldId="3095"/>
            <ac:spMk id="2" creationId="{468C2152-E511-C241-AA71-6C4C801C2FB8}"/>
          </ac:spMkLst>
        </pc:spChg>
        <pc:spChg chg="mod">
          <ac:chgData name="Shelley Earl" userId="4951d46f-b647-4b3c-b822-5808962dcca8" providerId="ADAL" clId="{C4A21C12-107D-40B1-A277-953C3871C887}" dt="2023-08-14T17:17:46.590" v="515" actId="255"/>
          <ac:spMkLst>
            <pc:docMk/>
            <pc:sldMk cId="1545714621" sldId="3095"/>
            <ac:spMk id="3" creationId="{9772A89E-A4C9-826A-A66A-49B7F364F79F}"/>
          </ac:spMkLst>
        </pc:spChg>
        <pc:spChg chg="mod modVis">
          <ac:chgData name="Shelley Earl" userId="4951d46f-b647-4b3c-b822-5808962dcca8" providerId="ADAL" clId="{C4A21C12-107D-40B1-A277-953C3871C887}" dt="2023-08-14T17:14:08.046" v="508" actId="26606"/>
          <ac:spMkLst>
            <pc:docMk/>
            <pc:sldMk cId="1545714621" sldId="3095"/>
            <ac:spMk id="5" creationId="{6B5E798E-E98B-594A-481B-A6F6CEBC33CF}"/>
          </ac:spMkLst>
        </pc:spChg>
        <pc:spChg chg="add del mod">
          <ac:chgData name="Shelley Earl" userId="4951d46f-b647-4b3c-b822-5808962dcca8" providerId="ADAL" clId="{C4A21C12-107D-40B1-A277-953C3871C887}" dt="2023-08-14T17:17:32.605" v="509" actId="931"/>
          <ac:spMkLst>
            <pc:docMk/>
            <pc:sldMk cId="1545714621" sldId="3095"/>
            <ac:spMk id="10" creationId="{6C72F05B-DD34-885E-A26E-A2D16D3C2CFD}"/>
          </ac:spMkLst>
        </pc:spChg>
        <pc:picChg chg="add mod">
          <ac:chgData name="Shelley Earl" userId="4951d46f-b647-4b3c-b822-5808962dcca8" providerId="ADAL" clId="{C4A21C12-107D-40B1-A277-953C3871C887}" dt="2023-08-14T17:17:39.797" v="513" actId="14100"/>
          <ac:picMkLst>
            <pc:docMk/>
            <pc:sldMk cId="1545714621" sldId="3095"/>
            <ac:picMk id="6" creationId="{619414B9-E3D1-72F8-A8EA-60A507560912}"/>
          </ac:picMkLst>
        </pc:picChg>
      </pc:sldChg>
      <pc:sldChg chg="modSp mod">
        <pc:chgData name="Shelley Earl" userId="4951d46f-b647-4b3c-b822-5808962dcca8" providerId="ADAL" clId="{C4A21C12-107D-40B1-A277-953C3871C887}" dt="2023-08-14T17:19:33.837" v="525" actId="1076"/>
        <pc:sldMkLst>
          <pc:docMk/>
          <pc:sldMk cId="289777373" sldId="3096"/>
        </pc:sldMkLst>
        <pc:spChg chg="mod">
          <ac:chgData name="Shelley Earl" userId="4951d46f-b647-4b3c-b822-5808962dcca8" providerId="ADAL" clId="{C4A21C12-107D-40B1-A277-953C3871C887}" dt="2023-08-14T17:19:33.837" v="525" actId="1076"/>
          <ac:spMkLst>
            <pc:docMk/>
            <pc:sldMk cId="289777373" sldId="3096"/>
            <ac:spMk id="2" creationId="{468C2152-E511-C241-AA71-6C4C801C2FB8}"/>
          </ac:spMkLst>
        </pc:spChg>
      </pc:sldChg>
      <pc:sldChg chg="modSp mod">
        <pc:chgData name="Shelley Earl" userId="4951d46f-b647-4b3c-b822-5808962dcca8" providerId="ADAL" clId="{C4A21C12-107D-40B1-A277-953C3871C887}" dt="2023-08-14T17:19:37.425" v="526" actId="1076"/>
        <pc:sldMkLst>
          <pc:docMk/>
          <pc:sldMk cId="478742571" sldId="3097"/>
        </pc:sldMkLst>
        <pc:spChg chg="mod">
          <ac:chgData name="Shelley Earl" userId="4951d46f-b647-4b3c-b822-5808962dcca8" providerId="ADAL" clId="{C4A21C12-107D-40B1-A277-953C3871C887}" dt="2023-08-14T17:19:37.425" v="526" actId="1076"/>
          <ac:spMkLst>
            <pc:docMk/>
            <pc:sldMk cId="478742571" sldId="3097"/>
            <ac:spMk id="2" creationId="{468C2152-E511-C241-AA71-6C4C801C2FB8}"/>
          </ac:spMkLst>
        </pc:spChg>
      </pc:sldChg>
      <pc:sldChg chg="modSp mod">
        <pc:chgData name="Shelley Earl" userId="4951d46f-b647-4b3c-b822-5808962dcca8" providerId="ADAL" clId="{C4A21C12-107D-40B1-A277-953C3871C887}" dt="2023-08-14T17:19:42.332" v="527" actId="1076"/>
        <pc:sldMkLst>
          <pc:docMk/>
          <pc:sldMk cId="3918009376" sldId="3098"/>
        </pc:sldMkLst>
        <pc:spChg chg="mod">
          <ac:chgData name="Shelley Earl" userId="4951d46f-b647-4b3c-b822-5808962dcca8" providerId="ADAL" clId="{C4A21C12-107D-40B1-A277-953C3871C887}" dt="2023-08-14T17:19:42.332" v="527" actId="1076"/>
          <ac:spMkLst>
            <pc:docMk/>
            <pc:sldMk cId="3918009376" sldId="3098"/>
            <ac:spMk id="2" creationId="{468C2152-E511-C241-AA71-6C4C801C2FB8}"/>
          </ac:spMkLst>
        </pc:spChg>
      </pc:sldChg>
      <pc:sldChg chg="modSp mod">
        <pc:chgData name="Shelley Earl" userId="4951d46f-b647-4b3c-b822-5808962dcca8" providerId="ADAL" clId="{C4A21C12-107D-40B1-A277-953C3871C887}" dt="2023-08-14T17:19:46.406" v="528" actId="1076"/>
        <pc:sldMkLst>
          <pc:docMk/>
          <pc:sldMk cId="4065562199" sldId="3100"/>
        </pc:sldMkLst>
        <pc:spChg chg="mod">
          <ac:chgData name="Shelley Earl" userId="4951d46f-b647-4b3c-b822-5808962dcca8" providerId="ADAL" clId="{C4A21C12-107D-40B1-A277-953C3871C887}" dt="2023-08-14T17:19:46.406" v="528" actId="1076"/>
          <ac:spMkLst>
            <pc:docMk/>
            <pc:sldMk cId="4065562199" sldId="3100"/>
            <ac:spMk id="2" creationId="{468C2152-E511-C241-AA71-6C4C801C2FB8}"/>
          </ac:spMkLst>
        </pc:spChg>
      </pc:sldChg>
      <pc:sldChg chg="modSp mod">
        <pc:chgData name="Shelley Earl" userId="4951d46f-b647-4b3c-b822-5808962dcca8" providerId="ADAL" clId="{C4A21C12-107D-40B1-A277-953C3871C887}" dt="2023-08-15T12:55:06.764" v="642" actId="20577"/>
        <pc:sldMkLst>
          <pc:docMk/>
          <pc:sldMk cId="560140453" sldId="3102"/>
        </pc:sldMkLst>
        <pc:spChg chg="mod">
          <ac:chgData name="Shelley Earl" userId="4951d46f-b647-4b3c-b822-5808962dcca8" providerId="ADAL" clId="{C4A21C12-107D-40B1-A277-953C3871C887}" dt="2023-08-14T17:19:54.166" v="529" actId="1076"/>
          <ac:spMkLst>
            <pc:docMk/>
            <pc:sldMk cId="560140453" sldId="3102"/>
            <ac:spMk id="2" creationId="{468C2152-E511-C241-AA71-6C4C801C2FB8}"/>
          </ac:spMkLst>
        </pc:spChg>
        <pc:spChg chg="mod">
          <ac:chgData name="Shelley Earl" userId="4951d46f-b647-4b3c-b822-5808962dcca8" providerId="ADAL" clId="{C4A21C12-107D-40B1-A277-953C3871C887}" dt="2023-08-15T12:55:06.764" v="642" actId="20577"/>
          <ac:spMkLst>
            <pc:docMk/>
            <pc:sldMk cId="560140453" sldId="3102"/>
            <ac:spMk id="3" creationId="{9772A89E-A4C9-826A-A66A-49B7F364F79F}"/>
          </ac:spMkLst>
        </pc:spChg>
      </pc:sldChg>
      <pc:sldChg chg="modSp mod">
        <pc:chgData name="Shelley Earl" userId="4951d46f-b647-4b3c-b822-5808962dcca8" providerId="ADAL" clId="{C4A21C12-107D-40B1-A277-953C3871C887}" dt="2023-08-15T12:55:13.842" v="643" actId="1076"/>
        <pc:sldMkLst>
          <pc:docMk/>
          <pc:sldMk cId="1794424045" sldId="3103"/>
        </pc:sldMkLst>
        <pc:spChg chg="mod">
          <ac:chgData name="Shelley Earl" userId="4951d46f-b647-4b3c-b822-5808962dcca8" providerId="ADAL" clId="{C4A21C12-107D-40B1-A277-953C3871C887}" dt="2023-08-15T12:55:13.842" v="643" actId="1076"/>
          <ac:spMkLst>
            <pc:docMk/>
            <pc:sldMk cId="1794424045" sldId="3103"/>
            <ac:spMk id="3" creationId="{9772A89E-A4C9-826A-A66A-49B7F364F79F}"/>
          </ac:spMkLst>
        </pc:spChg>
      </pc:sldChg>
      <pc:sldChg chg="modSp mod">
        <pc:chgData name="Shelley Earl" userId="4951d46f-b647-4b3c-b822-5808962dcca8" providerId="ADAL" clId="{C4A21C12-107D-40B1-A277-953C3871C887}" dt="2023-08-15T12:56:18.515" v="650" actId="20577"/>
        <pc:sldMkLst>
          <pc:docMk/>
          <pc:sldMk cId="646310374" sldId="3104"/>
        </pc:sldMkLst>
        <pc:spChg chg="mod">
          <ac:chgData name="Shelley Earl" userId="4951d46f-b647-4b3c-b822-5808962dcca8" providerId="ADAL" clId="{C4A21C12-107D-40B1-A277-953C3871C887}" dt="2023-08-14T17:20:03.119" v="531" actId="1076"/>
          <ac:spMkLst>
            <pc:docMk/>
            <pc:sldMk cId="646310374" sldId="3104"/>
            <ac:spMk id="2" creationId="{468C2152-E511-C241-AA71-6C4C801C2FB8}"/>
          </ac:spMkLst>
        </pc:spChg>
        <pc:spChg chg="mod">
          <ac:chgData name="Shelley Earl" userId="4951d46f-b647-4b3c-b822-5808962dcca8" providerId="ADAL" clId="{C4A21C12-107D-40B1-A277-953C3871C887}" dt="2023-08-15T12:56:18.515" v="650" actId="20577"/>
          <ac:spMkLst>
            <pc:docMk/>
            <pc:sldMk cId="646310374" sldId="3104"/>
            <ac:spMk id="3" creationId="{9772A89E-A4C9-826A-A66A-49B7F364F79F}"/>
          </ac:spMkLst>
        </pc:spChg>
      </pc:sldChg>
      <pc:sldChg chg="modSp mod">
        <pc:chgData name="Shelley Earl" userId="4951d46f-b647-4b3c-b822-5808962dcca8" providerId="ADAL" clId="{C4A21C12-107D-40B1-A277-953C3871C887}" dt="2023-08-15T12:56:27.255" v="651" actId="1076"/>
        <pc:sldMkLst>
          <pc:docMk/>
          <pc:sldMk cId="391984982" sldId="3105"/>
        </pc:sldMkLst>
        <pc:spChg chg="mod">
          <ac:chgData name="Shelley Earl" userId="4951d46f-b647-4b3c-b822-5808962dcca8" providerId="ADAL" clId="{C4A21C12-107D-40B1-A277-953C3871C887}" dt="2023-08-14T17:20:10.138" v="533" actId="1076"/>
          <ac:spMkLst>
            <pc:docMk/>
            <pc:sldMk cId="391984982" sldId="3105"/>
            <ac:spMk id="2" creationId="{468C2152-E511-C241-AA71-6C4C801C2FB8}"/>
          </ac:spMkLst>
        </pc:spChg>
        <pc:spChg chg="mod">
          <ac:chgData name="Shelley Earl" userId="4951d46f-b647-4b3c-b822-5808962dcca8" providerId="ADAL" clId="{C4A21C12-107D-40B1-A277-953C3871C887}" dt="2023-08-15T12:56:27.255" v="651" actId="1076"/>
          <ac:spMkLst>
            <pc:docMk/>
            <pc:sldMk cId="391984982" sldId="3105"/>
            <ac:spMk id="3" creationId="{9772A89E-A4C9-826A-A66A-49B7F364F79F}"/>
          </ac:spMkLst>
        </pc:spChg>
      </pc:sldChg>
      <pc:sldChg chg="modSp mod">
        <pc:chgData name="Shelley Earl" userId="4951d46f-b647-4b3c-b822-5808962dcca8" providerId="ADAL" clId="{C4A21C12-107D-40B1-A277-953C3871C887}" dt="2023-08-15T12:57:06.827" v="659" actId="20577"/>
        <pc:sldMkLst>
          <pc:docMk/>
          <pc:sldMk cId="662526441" sldId="3107"/>
        </pc:sldMkLst>
        <pc:spChg chg="mod">
          <ac:chgData name="Shelley Earl" userId="4951d46f-b647-4b3c-b822-5808962dcca8" providerId="ADAL" clId="{C4A21C12-107D-40B1-A277-953C3871C887}" dt="2023-08-14T15:35:15.280" v="136" actId="20577"/>
          <ac:spMkLst>
            <pc:docMk/>
            <pc:sldMk cId="662526441" sldId="3107"/>
            <ac:spMk id="2" creationId="{468C2152-E511-C241-AA71-6C4C801C2FB8}"/>
          </ac:spMkLst>
        </pc:spChg>
        <pc:spChg chg="mod">
          <ac:chgData name="Shelley Earl" userId="4951d46f-b647-4b3c-b822-5808962dcca8" providerId="ADAL" clId="{C4A21C12-107D-40B1-A277-953C3871C887}" dt="2023-08-15T12:57:06.827" v="659" actId="20577"/>
          <ac:spMkLst>
            <pc:docMk/>
            <pc:sldMk cId="662526441" sldId="3107"/>
            <ac:spMk id="3" creationId="{9772A89E-A4C9-826A-A66A-49B7F364F79F}"/>
          </ac:spMkLst>
        </pc:spChg>
      </pc:sldChg>
      <pc:sldChg chg="modSp mod">
        <pc:chgData name="Shelley Earl" userId="4951d46f-b647-4b3c-b822-5808962dcca8" providerId="ADAL" clId="{C4A21C12-107D-40B1-A277-953C3871C887}" dt="2023-08-15T12:57:16.450" v="660" actId="1076"/>
        <pc:sldMkLst>
          <pc:docMk/>
          <pc:sldMk cId="898698074" sldId="3108"/>
        </pc:sldMkLst>
        <pc:spChg chg="mod">
          <ac:chgData name="Shelley Earl" userId="4951d46f-b647-4b3c-b822-5808962dcca8" providerId="ADAL" clId="{C4A21C12-107D-40B1-A277-953C3871C887}" dt="2023-08-14T15:35:26.249" v="138" actId="20577"/>
          <ac:spMkLst>
            <pc:docMk/>
            <pc:sldMk cId="898698074" sldId="3108"/>
            <ac:spMk id="2" creationId="{468C2152-E511-C241-AA71-6C4C801C2FB8}"/>
          </ac:spMkLst>
        </pc:spChg>
        <pc:spChg chg="mod">
          <ac:chgData name="Shelley Earl" userId="4951d46f-b647-4b3c-b822-5808962dcca8" providerId="ADAL" clId="{C4A21C12-107D-40B1-A277-953C3871C887}" dt="2023-08-15T12:57:16.450" v="660" actId="1076"/>
          <ac:spMkLst>
            <pc:docMk/>
            <pc:sldMk cId="898698074" sldId="3108"/>
            <ac:spMk id="3" creationId="{9772A89E-A4C9-826A-A66A-49B7F364F79F}"/>
          </ac:spMkLst>
        </pc:spChg>
      </pc:sldChg>
      <pc:sldChg chg="modSp mod">
        <pc:chgData name="Shelley Earl" userId="4951d46f-b647-4b3c-b822-5808962dcca8" providerId="ADAL" clId="{C4A21C12-107D-40B1-A277-953C3871C887}" dt="2023-08-14T15:35:37.095" v="140" actId="20577"/>
        <pc:sldMkLst>
          <pc:docMk/>
          <pc:sldMk cId="1031094478" sldId="3109"/>
        </pc:sldMkLst>
        <pc:spChg chg="mod">
          <ac:chgData name="Shelley Earl" userId="4951d46f-b647-4b3c-b822-5808962dcca8" providerId="ADAL" clId="{C4A21C12-107D-40B1-A277-953C3871C887}" dt="2023-08-14T15:35:37.095" v="140" actId="20577"/>
          <ac:spMkLst>
            <pc:docMk/>
            <pc:sldMk cId="1031094478" sldId="3109"/>
            <ac:spMk id="2" creationId="{468C2152-E511-C241-AA71-6C4C801C2FB8}"/>
          </ac:spMkLst>
        </pc:spChg>
      </pc:sldChg>
      <pc:sldChg chg="modSp mod">
        <pc:chgData name="Shelley Earl" userId="4951d46f-b647-4b3c-b822-5808962dcca8" providerId="ADAL" clId="{C4A21C12-107D-40B1-A277-953C3871C887}" dt="2023-08-14T15:35:46.998" v="141" actId="255"/>
        <pc:sldMkLst>
          <pc:docMk/>
          <pc:sldMk cId="2224486015" sldId="3110"/>
        </pc:sldMkLst>
        <pc:spChg chg="mod">
          <ac:chgData name="Shelley Earl" userId="4951d46f-b647-4b3c-b822-5808962dcca8" providerId="ADAL" clId="{C4A21C12-107D-40B1-A277-953C3871C887}" dt="2023-08-14T15:35:46.998" v="141" actId="255"/>
          <ac:spMkLst>
            <pc:docMk/>
            <pc:sldMk cId="2224486015" sldId="3110"/>
            <ac:spMk id="2" creationId="{5F7F5318-89D8-9F18-7EB1-30215E40ED05}"/>
          </ac:spMkLst>
        </pc:spChg>
      </pc:sldChg>
      <pc:sldChg chg="modSp mod">
        <pc:chgData name="Shelley Earl" userId="4951d46f-b647-4b3c-b822-5808962dcca8" providerId="ADAL" clId="{C4A21C12-107D-40B1-A277-953C3871C887}" dt="2023-08-11T20:49:46.961" v="26" actId="1076"/>
        <pc:sldMkLst>
          <pc:docMk/>
          <pc:sldMk cId="3887989033" sldId="3112"/>
        </pc:sldMkLst>
        <pc:spChg chg="mod">
          <ac:chgData name="Shelley Earl" userId="4951d46f-b647-4b3c-b822-5808962dcca8" providerId="ADAL" clId="{C4A21C12-107D-40B1-A277-953C3871C887}" dt="2023-08-11T20:49:44.489" v="25" actId="1076"/>
          <ac:spMkLst>
            <pc:docMk/>
            <pc:sldMk cId="3887989033" sldId="3112"/>
            <ac:spMk id="3" creationId="{70A95673-CC42-4B60-6068-15FE79D330EF}"/>
          </ac:spMkLst>
        </pc:spChg>
        <pc:picChg chg="mod">
          <ac:chgData name="Shelley Earl" userId="4951d46f-b647-4b3c-b822-5808962dcca8" providerId="ADAL" clId="{C4A21C12-107D-40B1-A277-953C3871C887}" dt="2023-08-11T20:49:46.961" v="26" actId="1076"/>
          <ac:picMkLst>
            <pc:docMk/>
            <pc:sldMk cId="3887989033" sldId="3112"/>
            <ac:picMk id="6" creationId="{FDB49B8D-C6CD-F728-FBEE-0E472B29C854}"/>
          </ac:picMkLst>
        </pc:picChg>
      </pc:sldChg>
      <pc:sldChg chg="modSp mod">
        <pc:chgData name="Shelley Earl" userId="4951d46f-b647-4b3c-b822-5808962dcca8" providerId="ADAL" clId="{C4A21C12-107D-40B1-A277-953C3871C887}" dt="2023-08-14T15:36:48.236" v="147" actId="120"/>
        <pc:sldMkLst>
          <pc:docMk/>
          <pc:sldMk cId="640813750" sldId="3113"/>
        </pc:sldMkLst>
        <pc:spChg chg="mod">
          <ac:chgData name="Shelley Earl" userId="4951d46f-b647-4b3c-b822-5808962dcca8" providerId="ADAL" clId="{C4A21C12-107D-40B1-A277-953C3871C887}" dt="2023-08-14T15:36:48.236" v="147" actId="120"/>
          <ac:spMkLst>
            <pc:docMk/>
            <pc:sldMk cId="640813750" sldId="3113"/>
            <ac:spMk id="3" creationId="{380B8472-008B-B665-3DCA-B23E79BB89AE}"/>
          </ac:spMkLst>
        </pc:spChg>
      </pc:sldChg>
      <pc:sldChg chg="modSp mod">
        <pc:chgData name="Shelley Earl" userId="4951d46f-b647-4b3c-b822-5808962dcca8" providerId="ADAL" clId="{C4A21C12-107D-40B1-A277-953C3871C887}" dt="2023-08-14T15:36:52.708" v="148" actId="120"/>
        <pc:sldMkLst>
          <pc:docMk/>
          <pc:sldMk cId="2669075694" sldId="3114"/>
        </pc:sldMkLst>
        <pc:spChg chg="mod">
          <ac:chgData name="Shelley Earl" userId="4951d46f-b647-4b3c-b822-5808962dcca8" providerId="ADAL" clId="{C4A21C12-107D-40B1-A277-953C3871C887}" dt="2023-08-14T15:36:52.708" v="148" actId="120"/>
          <ac:spMkLst>
            <pc:docMk/>
            <pc:sldMk cId="2669075694" sldId="3114"/>
            <ac:spMk id="3" creationId="{380B8472-008B-B665-3DCA-B23E79BB89AE}"/>
          </ac:spMkLst>
        </pc:spChg>
      </pc:sldChg>
      <pc:sldChg chg="modSp mod">
        <pc:chgData name="Shelley Earl" userId="4951d46f-b647-4b3c-b822-5808962dcca8" providerId="ADAL" clId="{C4A21C12-107D-40B1-A277-953C3871C887}" dt="2023-08-14T15:37:02.822" v="149" actId="120"/>
        <pc:sldMkLst>
          <pc:docMk/>
          <pc:sldMk cId="2088331922" sldId="3115"/>
        </pc:sldMkLst>
        <pc:spChg chg="mod">
          <ac:chgData name="Shelley Earl" userId="4951d46f-b647-4b3c-b822-5808962dcca8" providerId="ADAL" clId="{C4A21C12-107D-40B1-A277-953C3871C887}" dt="2023-08-14T15:37:02.822" v="149" actId="120"/>
          <ac:spMkLst>
            <pc:docMk/>
            <pc:sldMk cId="2088331922" sldId="3115"/>
            <ac:spMk id="3" creationId="{380B8472-008B-B665-3DCA-B23E79BB89AE}"/>
          </ac:spMkLst>
        </pc:spChg>
        <pc:picChg chg="mod">
          <ac:chgData name="Shelley Earl" userId="4951d46f-b647-4b3c-b822-5808962dcca8" providerId="ADAL" clId="{C4A21C12-107D-40B1-A277-953C3871C887}" dt="2023-08-14T15:36:36.237" v="146" actId="1076"/>
          <ac:picMkLst>
            <pc:docMk/>
            <pc:sldMk cId="2088331922" sldId="3115"/>
            <ac:picMk id="6" creationId="{DC4AC9D8-8F67-9748-8607-71A798FBD715}"/>
          </ac:picMkLst>
        </pc:picChg>
      </pc:sldChg>
      <pc:sldChg chg="modSp mod">
        <pc:chgData name="Shelley Earl" userId="4951d46f-b647-4b3c-b822-5808962dcca8" providerId="ADAL" clId="{C4A21C12-107D-40B1-A277-953C3871C887}" dt="2023-08-14T15:37:35.642" v="155" actId="27636"/>
        <pc:sldMkLst>
          <pc:docMk/>
          <pc:sldMk cId="997555969" sldId="3116"/>
        </pc:sldMkLst>
        <pc:spChg chg="mod">
          <ac:chgData name="Shelley Earl" userId="4951d46f-b647-4b3c-b822-5808962dcca8" providerId="ADAL" clId="{C4A21C12-107D-40B1-A277-953C3871C887}" dt="2023-08-14T15:37:35.642" v="155" actId="27636"/>
          <ac:spMkLst>
            <pc:docMk/>
            <pc:sldMk cId="997555969" sldId="3116"/>
            <ac:spMk id="3" creationId="{380B8472-008B-B665-3DCA-B23E79BB89AE}"/>
          </ac:spMkLst>
        </pc:spChg>
      </pc:sldChg>
      <pc:sldChg chg="modSp mod">
        <pc:chgData name="Shelley Earl" userId="4951d46f-b647-4b3c-b822-5808962dcca8" providerId="ADAL" clId="{C4A21C12-107D-40B1-A277-953C3871C887}" dt="2023-08-15T12:57:43.233" v="663" actId="1076"/>
        <pc:sldMkLst>
          <pc:docMk/>
          <pc:sldMk cId="3650921" sldId="3117"/>
        </pc:sldMkLst>
        <pc:spChg chg="mod">
          <ac:chgData name="Shelley Earl" userId="4951d46f-b647-4b3c-b822-5808962dcca8" providerId="ADAL" clId="{C4A21C12-107D-40B1-A277-953C3871C887}" dt="2023-08-15T12:57:43.233" v="663" actId="1076"/>
          <ac:spMkLst>
            <pc:docMk/>
            <pc:sldMk cId="3650921" sldId="3117"/>
            <ac:spMk id="3" creationId="{380B8472-008B-B665-3DCA-B23E79BB89AE}"/>
          </ac:spMkLst>
        </pc:spChg>
      </pc:sldChg>
      <pc:sldChg chg="modSp mod">
        <pc:chgData name="Shelley Earl" userId="4951d46f-b647-4b3c-b822-5808962dcca8" providerId="ADAL" clId="{C4A21C12-107D-40B1-A277-953C3871C887}" dt="2023-08-15T12:57:51.128" v="664" actId="255"/>
        <pc:sldMkLst>
          <pc:docMk/>
          <pc:sldMk cId="489051755" sldId="3118"/>
        </pc:sldMkLst>
        <pc:spChg chg="mod">
          <ac:chgData name="Shelley Earl" userId="4951d46f-b647-4b3c-b822-5808962dcca8" providerId="ADAL" clId="{C4A21C12-107D-40B1-A277-953C3871C887}" dt="2023-08-15T12:57:51.128" v="664" actId="255"/>
          <ac:spMkLst>
            <pc:docMk/>
            <pc:sldMk cId="489051755" sldId="3118"/>
            <ac:spMk id="3" creationId="{380B8472-008B-B665-3DCA-B23E79BB89AE}"/>
          </ac:spMkLst>
        </pc:spChg>
        <pc:picChg chg="mod">
          <ac:chgData name="Shelley Earl" userId="4951d46f-b647-4b3c-b822-5808962dcca8" providerId="ADAL" clId="{C4A21C12-107D-40B1-A277-953C3871C887}" dt="2023-08-14T15:38:06.660" v="157" actId="1076"/>
          <ac:picMkLst>
            <pc:docMk/>
            <pc:sldMk cId="489051755" sldId="3118"/>
            <ac:picMk id="6" creationId="{8E01DDCB-39A3-6565-C066-95AE95F5900D}"/>
          </ac:picMkLst>
        </pc:picChg>
      </pc:sldChg>
      <pc:sldChg chg="modSp mod">
        <pc:chgData name="Shelley Earl" userId="4951d46f-b647-4b3c-b822-5808962dcca8" providerId="ADAL" clId="{C4A21C12-107D-40B1-A277-953C3871C887}" dt="2023-08-14T15:38:22.980" v="159" actId="255"/>
        <pc:sldMkLst>
          <pc:docMk/>
          <pc:sldMk cId="3126264877" sldId="3119"/>
        </pc:sldMkLst>
        <pc:spChg chg="mod">
          <ac:chgData name="Shelley Earl" userId="4951d46f-b647-4b3c-b822-5808962dcca8" providerId="ADAL" clId="{C4A21C12-107D-40B1-A277-953C3871C887}" dt="2023-08-14T15:38:22.980" v="159" actId="255"/>
          <ac:spMkLst>
            <pc:docMk/>
            <pc:sldMk cId="3126264877" sldId="3119"/>
            <ac:spMk id="3" creationId="{9772A89E-A4C9-826A-A66A-49B7F364F79F}"/>
          </ac:spMkLst>
        </pc:spChg>
      </pc:sldChg>
      <pc:sldChg chg="modSp mod">
        <pc:chgData name="Shelley Earl" userId="4951d46f-b647-4b3c-b822-5808962dcca8" providerId="ADAL" clId="{C4A21C12-107D-40B1-A277-953C3871C887}" dt="2023-08-14T15:38:30.599" v="160" actId="1076"/>
        <pc:sldMkLst>
          <pc:docMk/>
          <pc:sldMk cId="277459379" sldId="3120"/>
        </pc:sldMkLst>
        <pc:spChg chg="mod">
          <ac:chgData name="Shelley Earl" userId="4951d46f-b647-4b3c-b822-5808962dcca8" providerId="ADAL" clId="{C4A21C12-107D-40B1-A277-953C3871C887}" dt="2023-08-14T15:38:30.599" v="160" actId="1076"/>
          <ac:spMkLst>
            <pc:docMk/>
            <pc:sldMk cId="277459379" sldId="3120"/>
            <ac:spMk id="2" creationId="{468C2152-E511-C241-AA71-6C4C801C2FB8}"/>
          </ac:spMkLst>
        </pc:spChg>
      </pc:sldChg>
      <pc:sldChg chg="modSp mod">
        <pc:chgData name="Shelley Earl" userId="4951d46f-b647-4b3c-b822-5808962dcca8" providerId="ADAL" clId="{C4A21C12-107D-40B1-A277-953C3871C887}" dt="2023-08-14T15:38:40.778" v="162" actId="255"/>
        <pc:sldMkLst>
          <pc:docMk/>
          <pc:sldMk cId="2981961399" sldId="3121"/>
        </pc:sldMkLst>
        <pc:spChg chg="mod">
          <ac:chgData name="Shelley Earl" userId="4951d46f-b647-4b3c-b822-5808962dcca8" providerId="ADAL" clId="{C4A21C12-107D-40B1-A277-953C3871C887}" dt="2023-08-14T15:38:36.006" v="161" actId="1076"/>
          <ac:spMkLst>
            <pc:docMk/>
            <pc:sldMk cId="2981961399" sldId="3121"/>
            <ac:spMk id="2" creationId="{468C2152-E511-C241-AA71-6C4C801C2FB8}"/>
          </ac:spMkLst>
        </pc:spChg>
        <pc:spChg chg="mod">
          <ac:chgData name="Shelley Earl" userId="4951d46f-b647-4b3c-b822-5808962dcca8" providerId="ADAL" clId="{C4A21C12-107D-40B1-A277-953C3871C887}" dt="2023-08-14T15:38:40.778" v="162" actId="255"/>
          <ac:spMkLst>
            <pc:docMk/>
            <pc:sldMk cId="2981961399" sldId="3121"/>
            <ac:spMk id="3" creationId="{9772A89E-A4C9-826A-A66A-49B7F364F79F}"/>
          </ac:spMkLst>
        </pc:spChg>
      </pc:sldChg>
      <pc:sldChg chg="modSp mod">
        <pc:chgData name="Shelley Earl" userId="4951d46f-b647-4b3c-b822-5808962dcca8" providerId="ADAL" clId="{C4A21C12-107D-40B1-A277-953C3871C887}" dt="2023-08-14T15:38:46.834" v="163" actId="1076"/>
        <pc:sldMkLst>
          <pc:docMk/>
          <pc:sldMk cId="908112542" sldId="3122"/>
        </pc:sldMkLst>
        <pc:spChg chg="mod">
          <ac:chgData name="Shelley Earl" userId="4951d46f-b647-4b3c-b822-5808962dcca8" providerId="ADAL" clId="{C4A21C12-107D-40B1-A277-953C3871C887}" dt="2023-08-14T15:38:46.834" v="163" actId="1076"/>
          <ac:spMkLst>
            <pc:docMk/>
            <pc:sldMk cId="908112542" sldId="3122"/>
            <ac:spMk id="2" creationId="{468C2152-E511-C241-AA71-6C4C801C2FB8}"/>
          </ac:spMkLst>
        </pc:spChg>
      </pc:sldChg>
      <pc:sldChg chg="modSp mod">
        <pc:chgData name="Shelley Earl" userId="4951d46f-b647-4b3c-b822-5808962dcca8" providerId="ADAL" clId="{C4A21C12-107D-40B1-A277-953C3871C887}" dt="2023-08-15T12:59:45.388" v="666" actId="1076"/>
        <pc:sldMkLst>
          <pc:docMk/>
          <pc:sldMk cId="2483000662" sldId="3124"/>
        </pc:sldMkLst>
        <pc:spChg chg="mod">
          <ac:chgData name="Shelley Earl" userId="4951d46f-b647-4b3c-b822-5808962dcca8" providerId="ADAL" clId="{C4A21C12-107D-40B1-A277-953C3871C887}" dt="2023-08-14T15:38:57.864" v="164" actId="1076"/>
          <ac:spMkLst>
            <pc:docMk/>
            <pc:sldMk cId="2483000662" sldId="3124"/>
            <ac:spMk id="2" creationId="{468C2152-E511-C241-AA71-6C4C801C2FB8}"/>
          </ac:spMkLst>
        </pc:spChg>
        <pc:spChg chg="mod">
          <ac:chgData name="Shelley Earl" userId="4951d46f-b647-4b3c-b822-5808962dcca8" providerId="ADAL" clId="{C4A21C12-107D-40B1-A277-953C3871C887}" dt="2023-08-15T12:59:45.388" v="666" actId="1076"/>
          <ac:spMkLst>
            <pc:docMk/>
            <pc:sldMk cId="2483000662" sldId="3124"/>
            <ac:spMk id="3" creationId="{9772A89E-A4C9-826A-A66A-49B7F364F79F}"/>
          </ac:spMkLst>
        </pc:spChg>
      </pc:sldChg>
      <pc:sldChg chg="modSp mod">
        <pc:chgData name="Shelley Earl" userId="4951d46f-b647-4b3c-b822-5808962dcca8" providerId="ADAL" clId="{C4A21C12-107D-40B1-A277-953C3871C887}" dt="2023-08-15T12:59:34.388" v="665" actId="1076"/>
        <pc:sldMkLst>
          <pc:docMk/>
          <pc:sldMk cId="3592656022" sldId="3125"/>
        </pc:sldMkLst>
        <pc:spChg chg="mod">
          <ac:chgData name="Shelley Earl" userId="4951d46f-b647-4b3c-b822-5808962dcca8" providerId="ADAL" clId="{C4A21C12-107D-40B1-A277-953C3871C887}" dt="2023-08-14T15:39:06.264" v="165" actId="1076"/>
          <ac:spMkLst>
            <pc:docMk/>
            <pc:sldMk cId="3592656022" sldId="3125"/>
            <ac:spMk id="2" creationId="{468C2152-E511-C241-AA71-6C4C801C2FB8}"/>
          </ac:spMkLst>
        </pc:spChg>
        <pc:spChg chg="mod">
          <ac:chgData name="Shelley Earl" userId="4951d46f-b647-4b3c-b822-5808962dcca8" providerId="ADAL" clId="{C4A21C12-107D-40B1-A277-953C3871C887}" dt="2023-08-15T12:59:34.388" v="665" actId="1076"/>
          <ac:spMkLst>
            <pc:docMk/>
            <pc:sldMk cId="3592656022" sldId="3125"/>
            <ac:spMk id="3" creationId="{9772A89E-A4C9-826A-A66A-49B7F364F79F}"/>
          </ac:spMkLst>
        </pc:spChg>
      </pc:sldChg>
      <pc:sldChg chg="modSp mod">
        <pc:chgData name="Shelley Earl" userId="4951d46f-b647-4b3c-b822-5808962dcca8" providerId="ADAL" clId="{C4A21C12-107D-40B1-A277-953C3871C887}" dt="2023-08-14T15:39:27.244" v="168" actId="1076"/>
        <pc:sldMkLst>
          <pc:docMk/>
          <pc:sldMk cId="534630743" sldId="3126"/>
        </pc:sldMkLst>
        <pc:spChg chg="mod">
          <ac:chgData name="Shelley Earl" userId="4951d46f-b647-4b3c-b822-5808962dcca8" providerId="ADAL" clId="{C4A21C12-107D-40B1-A277-953C3871C887}" dt="2023-08-14T15:39:27.244" v="168" actId="1076"/>
          <ac:spMkLst>
            <pc:docMk/>
            <pc:sldMk cId="534630743" sldId="3126"/>
            <ac:spMk id="3" creationId="{9772A89E-A4C9-826A-A66A-49B7F364F79F}"/>
          </ac:spMkLst>
        </pc:spChg>
      </pc:sldChg>
      <pc:sldChg chg="modSp mod">
        <pc:chgData name="Shelley Earl" userId="4951d46f-b647-4b3c-b822-5808962dcca8" providerId="ADAL" clId="{C4A21C12-107D-40B1-A277-953C3871C887}" dt="2023-08-14T15:39:48.852" v="171" actId="1076"/>
        <pc:sldMkLst>
          <pc:docMk/>
          <pc:sldMk cId="1716335229" sldId="3127"/>
        </pc:sldMkLst>
        <pc:spChg chg="mod">
          <ac:chgData name="Shelley Earl" userId="4951d46f-b647-4b3c-b822-5808962dcca8" providerId="ADAL" clId="{C4A21C12-107D-40B1-A277-953C3871C887}" dt="2023-08-14T15:39:48.852" v="171" actId="1076"/>
          <ac:spMkLst>
            <pc:docMk/>
            <pc:sldMk cId="1716335229" sldId="3127"/>
            <ac:spMk id="2" creationId="{468C2152-E511-C241-AA71-6C4C801C2FB8}"/>
          </ac:spMkLst>
        </pc:spChg>
        <pc:spChg chg="mod">
          <ac:chgData name="Shelley Earl" userId="4951d46f-b647-4b3c-b822-5808962dcca8" providerId="ADAL" clId="{C4A21C12-107D-40B1-A277-953C3871C887}" dt="2023-08-14T15:39:44.739" v="170" actId="1076"/>
          <ac:spMkLst>
            <pc:docMk/>
            <pc:sldMk cId="1716335229" sldId="3127"/>
            <ac:spMk id="3" creationId="{9772A89E-A4C9-826A-A66A-49B7F364F79F}"/>
          </ac:spMkLst>
        </pc:spChg>
      </pc:sldChg>
      <pc:sldChg chg="modSp mod">
        <pc:chgData name="Shelley Earl" userId="4951d46f-b647-4b3c-b822-5808962dcca8" providerId="ADAL" clId="{C4A21C12-107D-40B1-A277-953C3871C887}" dt="2023-08-15T13:00:31.176" v="667" actId="255"/>
        <pc:sldMkLst>
          <pc:docMk/>
          <pc:sldMk cId="4233324792" sldId="3130"/>
        </pc:sldMkLst>
        <pc:spChg chg="mod">
          <ac:chgData name="Shelley Earl" userId="4951d46f-b647-4b3c-b822-5808962dcca8" providerId="ADAL" clId="{C4A21C12-107D-40B1-A277-953C3871C887}" dt="2023-08-15T13:00:31.176" v="667" actId="255"/>
          <ac:spMkLst>
            <pc:docMk/>
            <pc:sldMk cId="4233324792" sldId="3130"/>
            <ac:spMk id="3" creationId="{9772A89E-A4C9-826A-A66A-49B7F364F79F}"/>
          </ac:spMkLst>
        </pc:spChg>
      </pc:sldChg>
      <pc:sldChg chg="modSp mod">
        <pc:chgData name="Shelley Earl" userId="4951d46f-b647-4b3c-b822-5808962dcca8" providerId="ADAL" clId="{C4A21C12-107D-40B1-A277-953C3871C887}" dt="2023-08-14T15:40:35.164" v="179" actId="255"/>
        <pc:sldMkLst>
          <pc:docMk/>
          <pc:sldMk cId="3771683728" sldId="3131"/>
        </pc:sldMkLst>
        <pc:spChg chg="mod">
          <ac:chgData name="Shelley Earl" userId="4951d46f-b647-4b3c-b822-5808962dcca8" providerId="ADAL" clId="{C4A21C12-107D-40B1-A277-953C3871C887}" dt="2023-08-14T15:40:13.687" v="175" actId="1076"/>
          <ac:spMkLst>
            <pc:docMk/>
            <pc:sldMk cId="3771683728" sldId="3131"/>
            <ac:spMk id="2" creationId="{468C2152-E511-C241-AA71-6C4C801C2FB8}"/>
          </ac:spMkLst>
        </pc:spChg>
        <pc:spChg chg="mod">
          <ac:chgData name="Shelley Earl" userId="4951d46f-b647-4b3c-b822-5808962dcca8" providerId="ADAL" clId="{C4A21C12-107D-40B1-A277-953C3871C887}" dt="2023-08-14T15:40:35.164" v="179" actId="255"/>
          <ac:spMkLst>
            <pc:docMk/>
            <pc:sldMk cId="3771683728" sldId="3131"/>
            <ac:spMk id="3" creationId="{9772A89E-A4C9-826A-A66A-49B7F364F79F}"/>
          </ac:spMkLst>
        </pc:spChg>
      </pc:sldChg>
      <pc:sldChg chg="modSp mod">
        <pc:chgData name="Shelley Earl" userId="4951d46f-b647-4b3c-b822-5808962dcca8" providerId="ADAL" clId="{C4A21C12-107D-40B1-A277-953C3871C887}" dt="2023-08-14T15:40:29.070" v="178" actId="1076"/>
        <pc:sldMkLst>
          <pc:docMk/>
          <pc:sldMk cId="3070161551" sldId="3132"/>
        </pc:sldMkLst>
        <pc:spChg chg="mod">
          <ac:chgData name="Shelley Earl" userId="4951d46f-b647-4b3c-b822-5808962dcca8" providerId="ADAL" clId="{C4A21C12-107D-40B1-A277-953C3871C887}" dt="2023-08-14T15:40:21.535" v="176" actId="1076"/>
          <ac:spMkLst>
            <pc:docMk/>
            <pc:sldMk cId="3070161551" sldId="3132"/>
            <ac:spMk id="2" creationId="{468C2152-E511-C241-AA71-6C4C801C2FB8}"/>
          </ac:spMkLst>
        </pc:spChg>
        <pc:spChg chg="mod">
          <ac:chgData name="Shelley Earl" userId="4951d46f-b647-4b3c-b822-5808962dcca8" providerId="ADAL" clId="{C4A21C12-107D-40B1-A277-953C3871C887}" dt="2023-08-14T15:40:29.070" v="178" actId="1076"/>
          <ac:spMkLst>
            <pc:docMk/>
            <pc:sldMk cId="3070161551" sldId="3132"/>
            <ac:spMk id="3" creationId="{9772A89E-A4C9-826A-A66A-49B7F364F79F}"/>
          </ac:spMkLst>
        </pc:spChg>
      </pc:sldChg>
      <pc:sldChg chg="modSp mod">
        <pc:chgData name="Shelley Earl" userId="4951d46f-b647-4b3c-b822-5808962dcca8" providerId="ADAL" clId="{C4A21C12-107D-40B1-A277-953C3871C887}" dt="2023-08-14T15:40:52.637" v="182" actId="1076"/>
        <pc:sldMkLst>
          <pc:docMk/>
          <pc:sldMk cId="3009330332" sldId="3134"/>
        </pc:sldMkLst>
        <pc:spChg chg="mod">
          <ac:chgData name="Shelley Earl" userId="4951d46f-b647-4b3c-b822-5808962dcca8" providerId="ADAL" clId="{C4A21C12-107D-40B1-A277-953C3871C887}" dt="2023-08-14T15:40:45.911" v="180" actId="1076"/>
          <ac:spMkLst>
            <pc:docMk/>
            <pc:sldMk cId="3009330332" sldId="3134"/>
            <ac:spMk id="2" creationId="{468C2152-E511-C241-AA71-6C4C801C2FB8}"/>
          </ac:spMkLst>
        </pc:spChg>
        <pc:spChg chg="mod">
          <ac:chgData name="Shelley Earl" userId="4951d46f-b647-4b3c-b822-5808962dcca8" providerId="ADAL" clId="{C4A21C12-107D-40B1-A277-953C3871C887}" dt="2023-08-14T15:40:52.637" v="182" actId="1076"/>
          <ac:spMkLst>
            <pc:docMk/>
            <pc:sldMk cId="3009330332" sldId="3134"/>
            <ac:spMk id="3" creationId="{9772A89E-A4C9-826A-A66A-49B7F364F79F}"/>
          </ac:spMkLst>
        </pc:spChg>
      </pc:sldChg>
      <pc:sldChg chg="modSp mod">
        <pc:chgData name="Shelley Earl" userId="4951d46f-b647-4b3c-b822-5808962dcca8" providerId="ADAL" clId="{C4A21C12-107D-40B1-A277-953C3871C887}" dt="2023-08-14T15:40:58.311" v="183" actId="1076"/>
        <pc:sldMkLst>
          <pc:docMk/>
          <pc:sldMk cId="2961961113" sldId="3135"/>
        </pc:sldMkLst>
        <pc:spChg chg="mod">
          <ac:chgData name="Shelley Earl" userId="4951d46f-b647-4b3c-b822-5808962dcca8" providerId="ADAL" clId="{C4A21C12-107D-40B1-A277-953C3871C887}" dt="2023-08-14T15:40:58.311" v="183" actId="1076"/>
          <ac:spMkLst>
            <pc:docMk/>
            <pc:sldMk cId="2961961113" sldId="3135"/>
            <ac:spMk id="2" creationId="{468C2152-E511-C241-AA71-6C4C801C2FB8}"/>
          </ac:spMkLst>
        </pc:spChg>
      </pc:sldChg>
      <pc:sldChg chg="modSp mod">
        <pc:chgData name="Shelley Earl" userId="4951d46f-b647-4b3c-b822-5808962dcca8" providerId="ADAL" clId="{C4A21C12-107D-40B1-A277-953C3871C887}" dt="2023-08-14T15:41:07.870" v="185" actId="1076"/>
        <pc:sldMkLst>
          <pc:docMk/>
          <pc:sldMk cId="3621839372" sldId="3136"/>
        </pc:sldMkLst>
        <pc:spChg chg="mod">
          <ac:chgData name="Shelley Earl" userId="4951d46f-b647-4b3c-b822-5808962dcca8" providerId="ADAL" clId="{C4A21C12-107D-40B1-A277-953C3871C887}" dt="2023-08-14T15:41:07.870" v="185" actId="1076"/>
          <ac:spMkLst>
            <pc:docMk/>
            <pc:sldMk cId="3621839372" sldId="3136"/>
            <ac:spMk id="3" creationId="{9772A89E-A4C9-826A-A66A-49B7F364F79F}"/>
          </ac:spMkLst>
        </pc:spChg>
      </pc:sldChg>
      <pc:sldChg chg="modSp mod">
        <pc:chgData name="Shelley Earl" userId="4951d46f-b647-4b3c-b822-5808962dcca8" providerId="ADAL" clId="{C4A21C12-107D-40B1-A277-953C3871C887}" dt="2023-08-14T15:41:20.637" v="187" actId="255"/>
        <pc:sldMkLst>
          <pc:docMk/>
          <pc:sldMk cId="2111492590" sldId="3139"/>
        </pc:sldMkLst>
        <pc:spChg chg="mod">
          <ac:chgData name="Shelley Earl" userId="4951d46f-b647-4b3c-b822-5808962dcca8" providerId="ADAL" clId="{C4A21C12-107D-40B1-A277-953C3871C887}" dt="2023-08-14T15:41:20.637" v="187" actId="255"/>
          <ac:spMkLst>
            <pc:docMk/>
            <pc:sldMk cId="2111492590" sldId="3139"/>
            <ac:spMk id="3" creationId="{9772A89E-A4C9-826A-A66A-49B7F364F79F}"/>
          </ac:spMkLst>
        </pc:spChg>
      </pc:sldChg>
      <pc:sldChg chg="modSp mod">
        <pc:chgData name="Shelley Earl" userId="4951d46f-b647-4b3c-b822-5808962dcca8" providerId="ADAL" clId="{C4A21C12-107D-40B1-A277-953C3871C887}" dt="2023-08-15T13:04:13.126" v="669" actId="20577"/>
        <pc:sldMkLst>
          <pc:docMk/>
          <pc:sldMk cId="660432388" sldId="3140"/>
        </pc:sldMkLst>
        <pc:spChg chg="mod">
          <ac:chgData name="Shelley Earl" userId="4951d46f-b647-4b3c-b822-5808962dcca8" providerId="ADAL" clId="{C4A21C12-107D-40B1-A277-953C3871C887}" dt="2023-08-15T13:04:13.126" v="669" actId="20577"/>
          <ac:spMkLst>
            <pc:docMk/>
            <pc:sldMk cId="660432388" sldId="3140"/>
            <ac:spMk id="3" creationId="{9772A89E-A4C9-826A-A66A-49B7F364F79F}"/>
          </ac:spMkLst>
        </pc:spChg>
      </pc:sldChg>
      <pc:sldChg chg="modSp mod">
        <pc:chgData name="Shelley Earl" userId="4951d46f-b647-4b3c-b822-5808962dcca8" providerId="ADAL" clId="{C4A21C12-107D-40B1-A277-953C3871C887}" dt="2023-08-15T13:04:48.815" v="670" actId="255"/>
        <pc:sldMkLst>
          <pc:docMk/>
          <pc:sldMk cId="2207841152" sldId="3141"/>
        </pc:sldMkLst>
        <pc:spChg chg="mod">
          <ac:chgData name="Shelley Earl" userId="4951d46f-b647-4b3c-b822-5808962dcca8" providerId="ADAL" clId="{C4A21C12-107D-40B1-A277-953C3871C887}" dt="2023-08-15T13:04:48.815" v="670" actId="255"/>
          <ac:spMkLst>
            <pc:docMk/>
            <pc:sldMk cId="2207841152" sldId="3141"/>
            <ac:spMk id="3" creationId="{9772A89E-A4C9-826A-A66A-49B7F364F79F}"/>
          </ac:spMkLst>
        </pc:spChg>
      </pc:sldChg>
      <pc:sldChg chg="modSp mod">
        <pc:chgData name="Shelley Earl" userId="4951d46f-b647-4b3c-b822-5808962dcca8" providerId="ADAL" clId="{C4A21C12-107D-40B1-A277-953C3871C887}" dt="2023-08-14T15:43:39.436" v="194" actId="1076"/>
        <pc:sldMkLst>
          <pc:docMk/>
          <pc:sldMk cId="143479084" sldId="3143"/>
        </pc:sldMkLst>
        <pc:spChg chg="mod">
          <ac:chgData name="Shelley Earl" userId="4951d46f-b647-4b3c-b822-5808962dcca8" providerId="ADAL" clId="{C4A21C12-107D-40B1-A277-953C3871C887}" dt="2023-08-14T15:43:03.290" v="190" actId="1076"/>
          <ac:spMkLst>
            <pc:docMk/>
            <pc:sldMk cId="143479084" sldId="3143"/>
            <ac:spMk id="2" creationId="{468C2152-E511-C241-AA71-6C4C801C2FB8}"/>
          </ac:spMkLst>
        </pc:spChg>
        <pc:spChg chg="mod">
          <ac:chgData name="Shelley Earl" userId="4951d46f-b647-4b3c-b822-5808962dcca8" providerId="ADAL" clId="{C4A21C12-107D-40B1-A277-953C3871C887}" dt="2023-08-14T15:43:39.436" v="194" actId="1076"/>
          <ac:spMkLst>
            <pc:docMk/>
            <pc:sldMk cId="143479084" sldId="3143"/>
            <ac:spMk id="3" creationId="{9772A89E-A4C9-826A-A66A-49B7F364F79F}"/>
          </ac:spMkLst>
        </pc:spChg>
      </pc:sldChg>
      <pc:sldChg chg="modSp mod">
        <pc:chgData name="Shelley Earl" userId="4951d46f-b647-4b3c-b822-5808962dcca8" providerId="ADAL" clId="{C4A21C12-107D-40B1-A277-953C3871C887}" dt="2023-08-14T15:43:25.268" v="192" actId="1076"/>
        <pc:sldMkLst>
          <pc:docMk/>
          <pc:sldMk cId="2362938400" sldId="3145"/>
        </pc:sldMkLst>
        <pc:spChg chg="mod">
          <ac:chgData name="Shelley Earl" userId="4951d46f-b647-4b3c-b822-5808962dcca8" providerId="ADAL" clId="{C4A21C12-107D-40B1-A277-953C3871C887}" dt="2023-08-14T15:43:25.268" v="192" actId="1076"/>
          <ac:spMkLst>
            <pc:docMk/>
            <pc:sldMk cId="2362938400" sldId="3145"/>
            <ac:spMk id="2" creationId="{468C2152-E511-C241-AA71-6C4C801C2FB8}"/>
          </ac:spMkLst>
        </pc:spChg>
        <pc:spChg chg="mod">
          <ac:chgData name="Shelley Earl" userId="4951d46f-b647-4b3c-b822-5808962dcca8" providerId="ADAL" clId="{C4A21C12-107D-40B1-A277-953C3871C887}" dt="2023-08-14T15:43:19.574" v="191" actId="1076"/>
          <ac:spMkLst>
            <pc:docMk/>
            <pc:sldMk cId="2362938400" sldId="3145"/>
            <ac:spMk id="3" creationId="{9772A89E-A4C9-826A-A66A-49B7F364F79F}"/>
          </ac:spMkLst>
        </pc:spChg>
      </pc:sldChg>
      <pc:sldChg chg="modSp mod">
        <pc:chgData name="Shelley Earl" userId="4951d46f-b647-4b3c-b822-5808962dcca8" providerId="ADAL" clId="{C4A21C12-107D-40B1-A277-953C3871C887}" dt="2023-08-14T15:43:50.314" v="196" actId="1076"/>
        <pc:sldMkLst>
          <pc:docMk/>
          <pc:sldMk cId="3620559724" sldId="3146"/>
        </pc:sldMkLst>
        <pc:spChg chg="mod">
          <ac:chgData name="Shelley Earl" userId="4951d46f-b647-4b3c-b822-5808962dcca8" providerId="ADAL" clId="{C4A21C12-107D-40B1-A277-953C3871C887}" dt="2023-08-14T15:43:50.314" v="196" actId="1076"/>
          <ac:spMkLst>
            <pc:docMk/>
            <pc:sldMk cId="3620559724" sldId="3146"/>
            <ac:spMk id="2" creationId="{468C2152-E511-C241-AA71-6C4C801C2FB8}"/>
          </ac:spMkLst>
        </pc:spChg>
      </pc:sldChg>
      <pc:sldChg chg="modSp mod">
        <pc:chgData name="Shelley Earl" userId="4951d46f-b647-4b3c-b822-5808962dcca8" providerId="ADAL" clId="{C4A21C12-107D-40B1-A277-953C3871C887}" dt="2023-08-14T15:44:17.231" v="201" actId="255"/>
        <pc:sldMkLst>
          <pc:docMk/>
          <pc:sldMk cId="209325199" sldId="3147"/>
        </pc:sldMkLst>
        <pc:spChg chg="mod">
          <ac:chgData name="Shelley Earl" userId="4951d46f-b647-4b3c-b822-5808962dcca8" providerId="ADAL" clId="{C4A21C12-107D-40B1-A277-953C3871C887}" dt="2023-08-14T15:43:54.707" v="197" actId="1076"/>
          <ac:spMkLst>
            <pc:docMk/>
            <pc:sldMk cId="209325199" sldId="3147"/>
            <ac:spMk id="2" creationId="{468C2152-E511-C241-AA71-6C4C801C2FB8}"/>
          </ac:spMkLst>
        </pc:spChg>
        <pc:spChg chg="mod">
          <ac:chgData name="Shelley Earl" userId="4951d46f-b647-4b3c-b822-5808962dcca8" providerId="ADAL" clId="{C4A21C12-107D-40B1-A277-953C3871C887}" dt="2023-08-14T15:44:17.231" v="201" actId="255"/>
          <ac:spMkLst>
            <pc:docMk/>
            <pc:sldMk cId="209325199" sldId="3147"/>
            <ac:spMk id="3" creationId="{9772A89E-A4C9-826A-A66A-49B7F364F79F}"/>
          </ac:spMkLst>
        </pc:spChg>
      </pc:sldChg>
      <pc:sldChg chg="modSp mod">
        <pc:chgData name="Shelley Earl" userId="4951d46f-b647-4b3c-b822-5808962dcca8" providerId="ADAL" clId="{C4A21C12-107D-40B1-A277-953C3871C887}" dt="2023-08-14T15:44:38.946" v="202" actId="1076"/>
        <pc:sldMkLst>
          <pc:docMk/>
          <pc:sldMk cId="1580393941" sldId="3148"/>
        </pc:sldMkLst>
        <pc:spChg chg="mod">
          <ac:chgData name="Shelley Earl" userId="4951d46f-b647-4b3c-b822-5808962dcca8" providerId="ADAL" clId="{C4A21C12-107D-40B1-A277-953C3871C887}" dt="2023-08-14T15:44:38.946" v="202" actId="1076"/>
          <ac:spMkLst>
            <pc:docMk/>
            <pc:sldMk cId="1580393941" sldId="3148"/>
            <ac:spMk id="2" creationId="{468C2152-E511-C241-AA71-6C4C801C2FB8}"/>
          </ac:spMkLst>
        </pc:spChg>
      </pc:sldChg>
      <pc:sldChg chg="modSp mod">
        <pc:chgData name="Shelley Earl" userId="4951d46f-b647-4b3c-b822-5808962dcca8" providerId="ADAL" clId="{C4A21C12-107D-40B1-A277-953C3871C887}" dt="2023-08-14T15:44:59.086" v="203" actId="1076"/>
        <pc:sldMkLst>
          <pc:docMk/>
          <pc:sldMk cId="665168480" sldId="3150"/>
        </pc:sldMkLst>
        <pc:spChg chg="mod">
          <ac:chgData name="Shelley Earl" userId="4951d46f-b647-4b3c-b822-5808962dcca8" providerId="ADAL" clId="{C4A21C12-107D-40B1-A277-953C3871C887}" dt="2023-08-14T15:44:59.086" v="203" actId="1076"/>
          <ac:spMkLst>
            <pc:docMk/>
            <pc:sldMk cId="665168480" sldId="3150"/>
            <ac:spMk id="2" creationId="{468C2152-E511-C241-AA71-6C4C801C2FB8}"/>
          </ac:spMkLst>
        </pc:spChg>
      </pc:sldChg>
      <pc:sldChg chg="modSp mod">
        <pc:chgData name="Shelley Earl" userId="4951d46f-b647-4b3c-b822-5808962dcca8" providerId="ADAL" clId="{C4A21C12-107D-40B1-A277-953C3871C887}" dt="2023-08-14T15:45:19.868" v="204" actId="1076"/>
        <pc:sldMkLst>
          <pc:docMk/>
          <pc:sldMk cId="902977006" sldId="3152"/>
        </pc:sldMkLst>
        <pc:spChg chg="mod">
          <ac:chgData name="Shelley Earl" userId="4951d46f-b647-4b3c-b822-5808962dcca8" providerId="ADAL" clId="{C4A21C12-107D-40B1-A277-953C3871C887}" dt="2023-08-14T15:45:19.868" v="204" actId="1076"/>
          <ac:spMkLst>
            <pc:docMk/>
            <pc:sldMk cId="902977006" sldId="3152"/>
            <ac:spMk id="2" creationId="{468C2152-E511-C241-AA71-6C4C801C2FB8}"/>
          </ac:spMkLst>
        </pc:spChg>
      </pc:sldChg>
      <pc:sldChg chg="modSp mod">
        <pc:chgData name="Shelley Earl" userId="4951d46f-b647-4b3c-b822-5808962dcca8" providerId="ADAL" clId="{C4A21C12-107D-40B1-A277-953C3871C887}" dt="2023-08-14T15:46:08.830" v="214" actId="1076"/>
        <pc:sldMkLst>
          <pc:docMk/>
          <pc:sldMk cId="1898119949" sldId="3153"/>
        </pc:sldMkLst>
        <pc:spChg chg="mod">
          <ac:chgData name="Shelley Earl" userId="4951d46f-b647-4b3c-b822-5808962dcca8" providerId="ADAL" clId="{C4A21C12-107D-40B1-A277-953C3871C887}" dt="2023-08-14T15:46:08.830" v="214" actId="1076"/>
          <ac:spMkLst>
            <pc:docMk/>
            <pc:sldMk cId="1898119949" sldId="3153"/>
            <ac:spMk id="2" creationId="{468C2152-E511-C241-AA71-6C4C801C2FB8}"/>
          </ac:spMkLst>
        </pc:spChg>
        <pc:spChg chg="mod">
          <ac:chgData name="Shelley Earl" userId="4951d46f-b647-4b3c-b822-5808962dcca8" providerId="ADAL" clId="{C4A21C12-107D-40B1-A277-953C3871C887}" dt="2023-08-14T15:46:01.368" v="213" actId="1076"/>
          <ac:spMkLst>
            <pc:docMk/>
            <pc:sldMk cId="1898119949" sldId="3153"/>
            <ac:spMk id="3" creationId="{9772A89E-A4C9-826A-A66A-49B7F364F79F}"/>
          </ac:spMkLst>
        </pc:spChg>
        <pc:picChg chg="mod">
          <ac:chgData name="Shelley Earl" userId="4951d46f-b647-4b3c-b822-5808962dcca8" providerId="ADAL" clId="{C4A21C12-107D-40B1-A277-953C3871C887}" dt="2023-08-14T15:45:58.452" v="212" actId="1076"/>
          <ac:picMkLst>
            <pc:docMk/>
            <pc:sldMk cId="1898119949" sldId="3153"/>
            <ac:picMk id="6" creationId="{18712B91-4BDF-269E-EB5B-8DA2596188CB}"/>
          </ac:picMkLst>
        </pc:picChg>
      </pc:sldChg>
      <pc:sldChg chg="addSp delSp modSp mod">
        <pc:chgData name="Shelley Earl" userId="4951d46f-b647-4b3c-b822-5808962dcca8" providerId="ADAL" clId="{C4A21C12-107D-40B1-A277-953C3871C887}" dt="2023-08-14T15:46:54.716" v="217" actId="207"/>
        <pc:sldMkLst>
          <pc:docMk/>
          <pc:sldMk cId="1321824755" sldId="3154"/>
        </pc:sldMkLst>
        <pc:spChg chg="mod">
          <ac:chgData name="Shelley Earl" userId="4951d46f-b647-4b3c-b822-5808962dcca8" providerId="ADAL" clId="{C4A21C12-107D-40B1-A277-953C3871C887}" dt="2023-08-14T15:46:49.417" v="216" actId="26606"/>
          <ac:spMkLst>
            <pc:docMk/>
            <pc:sldMk cId="1321824755" sldId="3154"/>
            <ac:spMk id="2" creationId="{468C2152-E511-C241-AA71-6C4C801C2FB8}"/>
          </ac:spMkLst>
        </pc:spChg>
        <pc:spChg chg="del">
          <ac:chgData name="Shelley Earl" userId="4951d46f-b647-4b3c-b822-5808962dcca8" providerId="ADAL" clId="{C4A21C12-107D-40B1-A277-953C3871C887}" dt="2023-08-14T15:46:49.417" v="216" actId="26606"/>
          <ac:spMkLst>
            <pc:docMk/>
            <pc:sldMk cId="1321824755" sldId="3154"/>
            <ac:spMk id="3" creationId="{9772A89E-A4C9-826A-A66A-49B7F364F79F}"/>
          </ac:spMkLst>
        </pc:spChg>
        <pc:spChg chg="mod">
          <ac:chgData name="Shelley Earl" userId="4951d46f-b647-4b3c-b822-5808962dcca8" providerId="ADAL" clId="{C4A21C12-107D-40B1-A277-953C3871C887}" dt="2023-08-14T15:46:49.417" v="216" actId="26606"/>
          <ac:spMkLst>
            <pc:docMk/>
            <pc:sldMk cId="1321824755" sldId="3154"/>
            <ac:spMk id="5" creationId="{6B5E798E-E98B-594A-481B-A6F6CEBC33CF}"/>
          </ac:spMkLst>
        </pc:spChg>
        <pc:spChg chg="add">
          <ac:chgData name="Shelley Earl" userId="4951d46f-b647-4b3c-b822-5808962dcca8" providerId="ADAL" clId="{C4A21C12-107D-40B1-A277-953C3871C887}" dt="2023-08-14T15:46:49.417" v="216" actId="26606"/>
          <ac:spMkLst>
            <pc:docMk/>
            <pc:sldMk cId="1321824755" sldId="3154"/>
            <ac:spMk id="11" creationId="{701AC263-346A-59D4-1C6C-16050FB9EBF0}"/>
          </ac:spMkLst>
        </pc:spChg>
        <pc:graphicFrameChg chg="add mod">
          <ac:chgData name="Shelley Earl" userId="4951d46f-b647-4b3c-b822-5808962dcca8" providerId="ADAL" clId="{C4A21C12-107D-40B1-A277-953C3871C887}" dt="2023-08-14T15:46:54.716" v="217" actId="207"/>
          <ac:graphicFrameMkLst>
            <pc:docMk/>
            <pc:sldMk cId="1321824755" sldId="3154"/>
            <ac:graphicFrameMk id="7" creationId="{FEB943A7-BBCE-4B86-17D5-9C4FA6377618}"/>
          </ac:graphicFrameMkLst>
        </pc:graphicFrameChg>
      </pc:sldChg>
      <pc:sldChg chg="modSp mod">
        <pc:chgData name="Shelley Earl" userId="4951d46f-b647-4b3c-b822-5808962dcca8" providerId="ADAL" clId="{C4A21C12-107D-40B1-A277-953C3871C887}" dt="2023-08-15T13:08:03.984" v="672" actId="1076"/>
        <pc:sldMkLst>
          <pc:docMk/>
          <pc:sldMk cId="120661949" sldId="3155"/>
        </pc:sldMkLst>
        <pc:spChg chg="mod">
          <ac:chgData name="Shelley Earl" userId="4951d46f-b647-4b3c-b822-5808962dcca8" providerId="ADAL" clId="{C4A21C12-107D-40B1-A277-953C3871C887}" dt="2023-08-15T13:07:54.661" v="671" actId="255"/>
          <ac:spMkLst>
            <pc:docMk/>
            <pc:sldMk cId="120661949" sldId="3155"/>
            <ac:spMk id="2" creationId="{C72C046B-748F-2966-8D33-704DBECE45E3}"/>
          </ac:spMkLst>
        </pc:spChg>
        <pc:spChg chg="mod">
          <ac:chgData name="Shelley Earl" userId="4951d46f-b647-4b3c-b822-5808962dcca8" providerId="ADAL" clId="{C4A21C12-107D-40B1-A277-953C3871C887}" dt="2023-08-15T13:08:03.984" v="672" actId="1076"/>
          <ac:spMkLst>
            <pc:docMk/>
            <pc:sldMk cId="120661949" sldId="3155"/>
            <ac:spMk id="3" creationId="{1FCB5CA6-DE9D-8ED8-1E63-5A2D9238C6B5}"/>
          </ac:spMkLst>
        </pc:spChg>
      </pc:sldChg>
      <pc:sldChg chg="modSp mod">
        <pc:chgData name="Shelley Earl" userId="4951d46f-b647-4b3c-b822-5808962dcca8" providerId="ADAL" clId="{C4A21C12-107D-40B1-A277-953C3871C887}" dt="2023-08-14T15:51:54.630" v="230" actId="207"/>
        <pc:sldMkLst>
          <pc:docMk/>
          <pc:sldMk cId="4218048133" sldId="3156"/>
        </pc:sldMkLst>
        <pc:spChg chg="mod">
          <ac:chgData name="Shelley Earl" userId="4951d46f-b647-4b3c-b822-5808962dcca8" providerId="ADAL" clId="{C4A21C12-107D-40B1-A277-953C3871C887}" dt="2023-08-14T15:51:54.630" v="230" actId="207"/>
          <ac:spMkLst>
            <pc:docMk/>
            <pc:sldMk cId="4218048133" sldId="3156"/>
            <ac:spMk id="2" creationId="{C72C046B-748F-2966-8D33-704DBECE45E3}"/>
          </ac:spMkLst>
        </pc:spChg>
      </pc:sldChg>
      <pc:sldChg chg="modSp mod">
        <pc:chgData name="Shelley Earl" userId="4951d46f-b647-4b3c-b822-5808962dcca8" providerId="ADAL" clId="{C4A21C12-107D-40B1-A277-953C3871C887}" dt="2023-08-15T13:08:36.202" v="676" actId="1076"/>
        <pc:sldMkLst>
          <pc:docMk/>
          <pc:sldMk cId="1176333129" sldId="3157"/>
        </pc:sldMkLst>
        <pc:spChg chg="mod">
          <ac:chgData name="Shelley Earl" userId="4951d46f-b647-4b3c-b822-5808962dcca8" providerId="ADAL" clId="{C4A21C12-107D-40B1-A277-953C3871C887}" dt="2023-08-15T13:08:36.202" v="676" actId="1076"/>
          <ac:spMkLst>
            <pc:docMk/>
            <pc:sldMk cId="1176333129" sldId="3157"/>
            <ac:spMk id="2" creationId="{C72C046B-748F-2966-8D33-704DBECE45E3}"/>
          </ac:spMkLst>
        </pc:spChg>
        <pc:spChg chg="mod">
          <ac:chgData name="Shelley Earl" userId="4951d46f-b647-4b3c-b822-5808962dcca8" providerId="ADAL" clId="{C4A21C12-107D-40B1-A277-953C3871C887}" dt="2023-08-14T15:59:47.536" v="232" actId="1076"/>
          <ac:spMkLst>
            <pc:docMk/>
            <pc:sldMk cId="1176333129" sldId="3157"/>
            <ac:spMk id="3" creationId="{1FCB5CA6-DE9D-8ED8-1E63-5A2D9238C6B5}"/>
          </ac:spMkLst>
        </pc:spChg>
      </pc:sldChg>
      <pc:sldChg chg="modSp mod">
        <pc:chgData name="Shelley Earl" userId="4951d46f-b647-4b3c-b822-5808962dcca8" providerId="ADAL" clId="{C4A21C12-107D-40B1-A277-953C3871C887}" dt="2023-08-14T16:00:25.083" v="242" actId="1076"/>
        <pc:sldMkLst>
          <pc:docMk/>
          <pc:sldMk cId="1394886945" sldId="3158"/>
        </pc:sldMkLst>
        <pc:spChg chg="mod">
          <ac:chgData name="Shelley Earl" userId="4951d46f-b647-4b3c-b822-5808962dcca8" providerId="ADAL" clId="{C4A21C12-107D-40B1-A277-953C3871C887}" dt="2023-08-14T16:00:05.846" v="236" actId="20577"/>
          <ac:spMkLst>
            <pc:docMk/>
            <pc:sldMk cId="1394886945" sldId="3158"/>
            <ac:spMk id="2" creationId="{C72C046B-748F-2966-8D33-704DBECE45E3}"/>
          </ac:spMkLst>
        </pc:spChg>
        <pc:spChg chg="mod">
          <ac:chgData name="Shelley Earl" userId="4951d46f-b647-4b3c-b822-5808962dcca8" providerId="ADAL" clId="{C4A21C12-107D-40B1-A277-953C3871C887}" dt="2023-08-14T16:00:22.245" v="241" actId="20577"/>
          <ac:spMkLst>
            <pc:docMk/>
            <pc:sldMk cId="1394886945" sldId="3158"/>
            <ac:spMk id="3" creationId="{1FCB5CA6-DE9D-8ED8-1E63-5A2D9238C6B5}"/>
          </ac:spMkLst>
        </pc:spChg>
        <pc:picChg chg="mod">
          <ac:chgData name="Shelley Earl" userId="4951d46f-b647-4b3c-b822-5808962dcca8" providerId="ADAL" clId="{C4A21C12-107D-40B1-A277-953C3871C887}" dt="2023-08-14T16:00:25.083" v="242" actId="1076"/>
          <ac:picMkLst>
            <pc:docMk/>
            <pc:sldMk cId="1394886945" sldId="3158"/>
            <ac:picMk id="4" creationId="{6CF978BD-A679-D0CE-4AC3-20B5CE700ECF}"/>
          </ac:picMkLst>
        </pc:picChg>
      </pc:sldChg>
      <pc:sldChg chg="modSp mod">
        <pc:chgData name="Shelley Earl" userId="4951d46f-b647-4b3c-b822-5808962dcca8" providerId="ADAL" clId="{C4A21C12-107D-40B1-A277-953C3871C887}" dt="2023-08-14T16:00:43.515" v="247" actId="1076"/>
        <pc:sldMkLst>
          <pc:docMk/>
          <pc:sldMk cId="3532811017" sldId="3160"/>
        </pc:sldMkLst>
        <pc:spChg chg="mod">
          <ac:chgData name="Shelley Earl" userId="4951d46f-b647-4b3c-b822-5808962dcca8" providerId="ADAL" clId="{C4A21C12-107D-40B1-A277-953C3871C887}" dt="2023-08-14T16:00:36.858" v="245" actId="1076"/>
          <ac:spMkLst>
            <pc:docMk/>
            <pc:sldMk cId="3532811017" sldId="3160"/>
            <ac:spMk id="2" creationId="{C72C046B-748F-2966-8D33-704DBECE45E3}"/>
          </ac:spMkLst>
        </pc:spChg>
        <pc:spChg chg="mod">
          <ac:chgData name="Shelley Earl" userId="4951d46f-b647-4b3c-b822-5808962dcca8" providerId="ADAL" clId="{C4A21C12-107D-40B1-A277-953C3871C887}" dt="2023-08-14T16:00:40.066" v="246" actId="1076"/>
          <ac:spMkLst>
            <pc:docMk/>
            <pc:sldMk cId="3532811017" sldId="3160"/>
            <ac:spMk id="3" creationId="{1FCB5CA6-DE9D-8ED8-1E63-5A2D9238C6B5}"/>
          </ac:spMkLst>
        </pc:spChg>
        <pc:picChg chg="mod">
          <ac:chgData name="Shelley Earl" userId="4951d46f-b647-4b3c-b822-5808962dcca8" providerId="ADAL" clId="{C4A21C12-107D-40B1-A277-953C3871C887}" dt="2023-08-14T16:00:43.515" v="247" actId="1076"/>
          <ac:picMkLst>
            <pc:docMk/>
            <pc:sldMk cId="3532811017" sldId="3160"/>
            <ac:picMk id="4" creationId="{74F88288-FC4D-C1B4-DC9A-C472C342CF8B}"/>
          </ac:picMkLst>
        </pc:picChg>
      </pc:sldChg>
      <pc:sldChg chg="addSp delSp modSp mod">
        <pc:chgData name="Shelley Earl" userId="4951d46f-b647-4b3c-b822-5808962dcca8" providerId="ADAL" clId="{C4A21C12-107D-40B1-A277-953C3871C887}" dt="2023-08-14T16:03:12.741" v="254" actId="255"/>
        <pc:sldMkLst>
          <pc:docMk/>
          <pc:sldMk cId="3599240883" sldId="3161"/>
        </pc:sldMkLst>
        <pc:spChg chg="mod">
          <ac:chgData name="Shelley Earl" userId="4951d46f-b647-4b3c-b822-5808962dcca8" providerId="ADAL" clId="{C4A21C12-107D-40B1-A277-953C3871C887}" dt="2023-08-14T16:01:19.812" v="250" actId="26606"/>
          <ac:spMkLst>
            <pc:docMk/>
            <pc:sldMk cId="3599240883" sldId="3161"/>
            <ac:spMk id="2" creationId="{C72C046B-748F-2966-8D33-704DBECE45E3}"/>
          </ac:spMkLst>
        </pc:spChg>
        <pc:spChg chg="del">
          <ac:chgData name="Shelley Earl" userId="4951d46f-b647-4b3c-b822-5808962dcca8" providerId="ADAL" clId="{C4A21C12-107D-40B1-A277-953C3871C887}" dt="2023-08-14T16:01:19.812" v="250" actId="26606"/>
          <ac:spMkLst>
            <pc:docMk/>
            <pc:sldMk cId="3599240883" sldId="3161"/>
            <ac:spMk id="3" creationId="{1FCB5CA6-DE9D-8ED8-1E63-5A2D9238C6B5}"/>
          </ac:spMkLst>
        </pc:spChg>
        <pc:spChg chg="mod">
          <ac:chgData name="Shelley Earl" userId="4951d46f-b647-4b3c-b822-5808962dcca8" providerId="ADAL" clId="{C4A21C12-107D-40B1-A277-953C3871C887}" dt="2023-08-14T16:01:19.812" v="250" actId="26606"/>
          <ac:spMkLst>
            <pc:docMk/>
            <pc:sldMk cId="3599240883" sldId="3161"/>
            <ac:spMk id="5" creationId="{DE7A581A-9DA4-16D5-BC74-921893A4CA59}"/>
          </ac:spMkLst>
        </pc:spChg>
        <pc:spChg chg="add mod">
          <ac:chgData name="Shelley Earl" userId="4951d46f-b647-4b3c-b822-5808962dcca8" providerId="ADAL" clId="{C4A21C12-107D-40B1-A277-953C3871C887}" dt="2023-08-14T16:02:49.438" v="252" actId="26606"/>
          <ac:spMkLst>
            <pc:docMk/>
            <pc:sldMk cId="3599240883" sldId="3161"/>
            <ac:spMk id="11" creationId="{273A6255-A6ED-F9CE-F0C4-EEEB2DD1C048}"/>
          </ac:spMkLst>
        </pc:spChg>
        <pc:graphicFrameChg chg="add mod modGraphic">
          <ac:chgData name="Shelley Earl" userId="4951d46f-b647-4b3c-b822-5808962dcca8" providerId="ADAL" clId="{C4A21C12-107D-40B1-A277-953C3871C887}" dt="2023-08-14T16:03:12.741" v="254" actId="255"/>
          <ac:graphicFrameMkLst>
            <pc:docMk/>
            <pc:sldMk cId="3599240883" sldId="3161"/>
            <ac:graphicFrameMk id="7" creationId="{326AC3FF-030C-2D45-6956-69658A08DC0A}"/>
          </ac:graphicFrameMkLst>
        </pc:graphicFrameChg>
      </pc:sldChg>
      <pc:sldChg chg="modSp del mod">
        <pc:chgData name="Shelley Earl" userId="4951d46f-b647-4b3c-b822-5808962dcca8" providerId="ADAL" clId="{C4A21C12-107D-40B1-A277-953C3871C887}" dt="2023-08-14T16:45:21.323" v="325" actId="47"/>
        <pc:sldMkLst>
          <pc:docMk/>
          <pc:sldMk cId="323649712" sldId="3162"/>
        </pc:sldMkLst>
        <pc:spChg chg="mod">
          <ac:chgData name="Shelley Earl" userId="4951d46f-b647-4b3c-b822-5808962dcca8" providerId="ADAL" clId="{C4A21C12-107D-40B1-A277-953C3871C887}" dt="2023-08-14T16:43:37.261" v="276" actId="20577"/>
          <ac:spMkLst>
            <pc:docMk/>
            <pc:sldMk cId="323649712" sldId="3162"/>
            <ac:spMk id="3" creationId="{1FCB5CA6-DE9D-8ED8-1E63-5A2D9238C6B5}"/>
          </ac:spMkLst>
        </pc:spChg>
      </pc:sldChg>
      <pc:sldChg chg="addSp delSp modSp mod">
        <pc:chgData name="Shelley Earl" userId="4951d46f-b647-4b3c-b822-5808962dcca8" providerId="ADAL" clId="{C4A21C12-107D-40B1-A277-953C3871C887}" dt="2023-08-14T16:45:19.480" v="324" actId="6549"/>
        <pc:sldMkLst>
          <pc:docMk/>
          <pc:sldMk cId="2999382882" sldId="3163"/>
        </pc:sldMkLst>
        <pc:spChg chg="mod">
          <ac:chgData name="Shelley Earl" userId="4951d46f-b647-4b3c-b822-5808962dcca8" providerId="ADAL" clId="{C4A21C12-107D-40B1-A277-953C3871C887}" dt="2023-08-14T16:45:19.480" v="324" actId="6549"/>
          <ac:spMkLst>
            <pc:docMk/>
            <pc:sldMk cId="2999382882" sldId="3163"/>
            <ac:spMk id="2" creationId="{C72C046B-748F-2966-8D33-704DBECE45E3}"/>
          </ac:spMkLst>
        </pc:spChg>
        <pc:spChg chg="del mod">
          <ac:chgData name="Shelley Earl" userId="4951d46f-b647-4b3c-b822-5808962dcca8" providerId="ADAL" clId="{C4A21C12-107D-40B1-A277-953C3871C887}" dt="2023-08-14T16:42:11.654" v="265" actId="26606"/>
          <ac:spMkLst>
            <pc:docMk/>
            <pc:sldMk cId="2999382882" sldId="3163"/>
            <ac:spMk id="3" creationId="{1FCB5CA6-DE9D-8ED8-1E63-5A2D9238C6B5}"/>
          </ac:spMkLst>
        </pc:spChg>
        <pc:spChg chg="mod">
          <ac:chgData name="Shelley Earl" userId="4951d46f-b647-4b3c-b822-5808962dcca8" providerId="ADAL" clId="{C4A21C12-107D-40B1-A277-953C3871C887}" dt="2023-08-14T16:42:11.654" v="265" actId="26606"/>
          <ac:spMkLst>
            <pc:docMk/>
            <pc:sldMk cId="2999382882" sldId="3163"/>
            <ac:spMk id="5" creationId="{DE7A581A-9DA4-16D5-BC74-921893A4CA59}"/>
          </ac:spMkLst>
        </pc:spChg>
        <pc:spChg chg="add">
          <ac:chgData name="Shelley Earl" userId="4951d46f-b647-4b3c-b822-5808962dcca8" providerId="ADAL" clId="{C4A21C12-107D-40B1-A277-953C3871C887}" dt="2023-08-14T16:42:11.654" v="265" actId="26606"/>
          <ac:spMkLst>
            <pc:docMk/>
            <pc:sldMk cId="2999382882" sldId="3163"/>
            <ac:spMk id="11" creationId="{DEF29ED5-D549-8BDD-3AAC-C5C4263ECF57}"/>
          </ac:spMkLst>
        </pc:spChg>
        <pc:graphicFrameChg chg="add mod">
          <ac:chgData name="Shelley Earl" userId="4951d46f-b647-4b3c-b822-5808962dcca8" providerId="ADAL" clId="{C4A21C12-107D-40B1-A277-953C3871C887}" dt="2023-08-14T16:45:12.964" v="310"/>
          <ac:graphicFrameMkLst>
            <pc:docMk/>
            <pc:sldMk cId="2999382882" sldId="3163"/>
            <ac:graphicFrameMk id="7" creationId="{9FF50981-39CA-0B36-CED6-7DCE662A7DB7}"/>
          </ac:graphicFrameMkLst>
        </pc:graphicFrameChg>
      </pc:sldChg>
      <pc:sldChg chg="addSp delSp modSp mod">
        <pc:chgData name="Shelley Earl" userId="4951d46f-b647-4b3c-b822-5808962dcca8" providerId="ADAL" clId="{C4A21C12-107D-40B1-A277-953C3871C887}" dt="2023-08-14T16:43:13.271" v="275"/>
        <pc:sldMkLst>
          <pc:docMk/>
          <pc:sldMk cId="2821667551" sldId="3164"/>
        </pc:sldMkLst>
        <pc:spChg chg="mod">
          <ac:chgData name="Shelley Earl" userId="4951d46f-b647-4b3c-b822-5808962dcca8" providerId="ADAL" clId="{C4A21C12-107D-40B1-A277-953C3871C887}" dt="2023-08-14T16:43:01.689" v="272" actId="26606"/>
          <ac:spMkLst>
            <pc:docMk/>
            <pc:sldMk cId="2821667551" sldId="3164"/>
            <ac:spMk id="2" creationId="{C72C046B-748F-2966-8D33-704DBECE45E3}"/>
          </ac:spMkLst>
        </pc:spChg>
        <pc:spChg chg="del mod">
          <ac:chgData name="Shelley Earl" userId="4951d46f-b647-4b3c-b822-5808962dcca8" providerId="ADAL" clId="{C4A21C12-107D-40B1-A277-953C3871C887}" dt="2023-08-14T16:43:01.689" v="272" actId="26606"/>
          <ac:spMkLst>
            <pc:docMk/>
            <pc:sldMk cId="2821667551" sldId="3164"/>
            <ac:spMk id="3" creationId="{1FCB5CA6-DE9D-8ED8-1E63-5A2D9238C6B5}"/>
          </ac:spMkLst>
        </pc:spChg>
        <pc:spChg chg="mod">
          <ac:chgData name="Shelley Earl" userId="4951d46f-b647-4b3c-b822-5808962dcca8" providerId="ADAL" clId="{C4A21C12-107D-40B1-A277-953C3871C887}" dt="2023-08-14T16:43:01.689" v="272" actId="26606"/>
          <ac:spMkLst>
            <pc:docMk/>
            <pc:sldMk cId="2821667551" sldId="3164"/>
            <ac:spMk id="5" creationId="{DE7A581A-9DA4-16D5-BC74-921893A4CA59}"/>
          </ac:spMkLst>
        </pc:spChg>
        <pc:spChg chg="add">
          <ac:chgData name="Shelley Earl" userId="4951d46f-b647-4b3c-b822-5808962dcca8" providerId="ADAL" clId="{C4A21C12-107D-40B1-A277-953C3871C887}" dt="2023-08-14T16:43:01.689" v="272" actId="26606"/>
          <ac:spMkLst>
            <pc:docMk/>
            <pc:sldMk cId="2821667551" sldId="3164"/>
            <ac:spMk id="11" creationId="{C7CB3765-6AA2-71A2-3022-4EA5062FBC2B}"/>
          </ac:spMkLst>
        </pc:spChg>
        <pc:graphicFrameChg chg="add mod">
          <ac:chgData name="Shelley Earl" userId="4951d46f-b647-4b3c-b822-5808962dcca8" providerId="ADAL" clId="{C4A21C12-107D-40B1-A277-953C3871C887}" dt="2023-08-14T16:43:13.271" v="275"/>
          <ac:graphicFrameMkLst>
            <pc:docMk/>
            <pc:sldMk cId="2821667551" sldId="3164"/>
            <ac:graphicFrameMk id="7" creationId="{48642DFA-9A54-89FE-969E-1EBA2C77F7C6}"/>
          </ac:graphicFrameMkLst>
        </pc:graphicFrameChg>
      </pc:sldChg>
      <pc:sldChg chg="addSp delSp modSp mod">
        <pc:chgData name="Shelley Earl" userId="4951d46f-b647-4b3c-b822-5808962dcca8" providerId="ADAL" clId="{C4A21C12-107D-40B1-A277-953C3871C887}" dt="2023-08-14T16:47:18.935" v="329"/>
        <pc:sldMkLst>
          <pc:docMk/>
          <pc:sldMk cId="556222733" sldId="3165"/>
        </pc:sldMkLst>
        <pc:spChg chg="mod">
          <ac:chgData name="Shelley Earl" userId="4951d46f-b647-4b3c-b822-5808962dcca8" providerId="ADAL" clId="{C4A21C12-107D-40B1-A277-953C3871C887}" dt="2023-08-14T16:47:04.497" v="326" actId="26606"/>
          <ac:spMkLst>
            <pc:docMk/>
            <pc:sldMk cId="556222733" sldId="3165"/>
            <ac:spMk id="2" creationId="{C72C046B-748F-2966-8D33-704DBECE45E3}"/>
          </ac:spMkLst>
        </pc:spChg>
        <pc:spChg chg="del">
          <ac:chgData name="Shelley Earl" userId="4951d46f-b647-4b3c-b822-5808962dcca8" providerId="ADAL" clId="{C4A21C12-107D-40B1-A277-953C3871C887}" dt="2023-08-14T16:47:04.497" v="326" actId="26606"/>
          <ac:spMkLst>
            <pc:docMk/>
            <pc:sldMk cId="556222733" sldId="3165"/>
            <ac:spMk id="3" creationId="{1FCB5CA6-DE9D-8ED8-1E63-5A2D9238C6B5}"/>
          </ac:spMkLst>
        </pc:spChg>
        <pc:spChg chg="mod">
          <ac:chgData name="Shelley Earl" userId="4951d46f-b647-4b3c-b822-5808962dcca8" providerId="ADAL" clId="{C4A21C12-107D-40B1-A277-953C3871C887}" dt="2023-08-14T16:47:04.497" v="326" actId="26606"/>
          <ac:spMkLst>
            <pc:docMk/>
            <pc:sldMk cId="556222733" sldId="3165"/>
            <ac:spMk id="5" creationId="{DE7A581A-9DA4-16D5-BC74-921893A4CA59}"/>
          </ac:spMkLst>
        </pc:spChg>
        <pc:spChg chg="add">
          <ac:chgData name="Shelley Earl" userId="4951d46f-b647-4b3c-b822-5808962dcca8" providerId="ADAL" clId="{C4A21C12-107D-40B1-A277-953C3871C887}" dt="2023-08-14T16:47:04.497" v="326" actId="26606"/>
          <ac:spMkLst>
            <pc:docMk/>
            <pc:sldMk cId="556222733" sldId="3165"/>
            <ac:spMk id="11" creationId="{38B409AB-F7DC-627A-C93B-B05B70206370}"/>
          </ac:spMkLst>
        </pc:spChg>
        <pc:graphicFrameChg chg="add mod">
          <ac:chgData name="Shelley Earl" userId="4951d46f-b647-4b3c-b822-5808962dcca8" providerId="ADAL" clId="{C4A21C12-107D-40B1-A277-953C3871C887}" dt="2023-08-14T16:47:18.935" v="329"/>
          <ac:graphicFrameMkLst>
            <pc:docMk/>
            <pc:sldMk cId="556222733" sldId="3165"/>
            <ac:graphicFrameMk id="7" creationId="{92E98F44-3337-B2A9-FF4D-0E4BDDF68B03}"/>
          </ac:graphicFrameMkLst>
        </pc:graphicFrameChg>
      </pc:sldChg>
      <pc:sldChg chg="modSp mod">
        <pc:chgData name="Shelley Earl" userId="4951d46f-b647-4b3c-b822-5808962dcca8" providerId="ADAL" clId="{C4A21C12-107D-40B1-A277-953C3871C887}" dt="2023-08-15T13:09:31.360" v="677" actId="1076"/>
        <pc:sldMkLst>
          <pc:docMk/>
          <pc:sldMk cId="2742468692" sldId="3167"/>
        </pc:sldMkLst>
        <pc:spChg chg="mod">
          <ac:chgData name="Shelley Earl" userId="4951d46f-b647-4b3c-b822-5808962dcca8" providerId="ADAL" clId="{C4A21C12-107D-40B1-A277-953C3871C887}" dt="2023-08-14T16:47:46.017" v="330" actId="1076"/>
          <ac:spMkLst>
            <pc:docMk/>
            <pc:sldMk cId="2742468692" sldId="3167"/>
            <ac:spMk id="2" creationId="{C72C046B-748F-2966-8D33-704DBECE45E3}"/>
          </ac:spMkLst>
        </pc:spChg>
        <pc:spChg chg="mod">
          <ac:chgData name="Shelley Earl" userId="4951d46f-b647-4b3c-b822-5808962dcca8" providerId="ADAL" clId="{C4A21C12-107D-40B1-A277-953C3871C887}" dt="2023-08-15T13:09:31.360" v="677" actId="1076"/>
          <ac:spMkLst>
            <pc:docMk/>
            <pc:sldMk cId="2742468692" sldId="3167"/>
            <ac:spMk id="3" creationId="{1FCB5CA6-DE9D-8ED8-1E63-5A2D9238C6B5}"/>
          </ac:spMkLst>
        </pc:spChg>
      </pc:sldChg>
      <pc:sldChg chg="modSp mod">
        <pc:chgData name="Shelley Earl" userId="4951d46f-b647-4b3c-b822-5808962dcca8" providerId="ADAL" clId="{C4A21C12-107D-40B1-A277-953C3871C887}" dt="2023-08-14T16:48:25.964" v="333" actId="1076"/>
        <pc:sldMkLst>
          <pc:docMk/>
          <pc:sldMk cId="163828424" sldId="3168"/>
        </pc:sldMkLst>
        <pc:spChg chg="mod">
          <ac:chgData name="Shelley Earl" userId="4951d46f-b647-4b3c-b822-5808962dcca8" providerId="ADAL" clId="{C4A21C12-107D-40B1-A277-953C3871C887}" dt="2023-08-14T16:48:25.964" v="333" actId="1076"/>
          <ac:spMkLst>
            <pc:docMk/>
            <pc:sldMk cId="163828424" sldId="3168"/>
            <ac:spMk id="2" creationId="{C72C046B-748F-2966-8D33-704DBECE45E3}"/>
          </ac:spMkLst>
        </pc:spChg>
        <pc:spChg chg="mod">
          <ac:chgData name="Shelley Earl" userId="4951d46f-b647-4b3c-b822-5808962dcca8" providerId="ADAL" clId="{C4A21C12-107D-40B1-A277-953C3871C887}" dt="2023-08-14T16:48:21.130" v="332" actId="255"/>
          <ac:spMkLst>
            <pc:docMk/>
            <pc:sldMk cId="163828424" sldId="3168"/>
            <ac:spMk id="3" creationId="{1FCB5CA6-DE9D-8ED8-1E63-5A2D9238C6B5}"/>
          </ac:spMkLst>
        </pc:spChg>
      </pc:sldChg>
      <pc:sldChg chg="modSp mod">
        <pc:chgData name="Shelley Earl" userId="4951d46f-b647-4b3c-b822-5808962dcca8" providerId="ADAL" clId="{C4A21C12-107D-40B1-A277-953C3871C887}" dt="2023-08-15T13:10:08.253" v="679" actId="1076"/>
        <pc:sldMkLst>
          <pc:docMk/>
          <pc:sldMk cId="366566122" sldId="3169"/>
        </pc:sldMkLst>
        <pc:spChg chg="mod">
          <ac:chgData name="Shelley Earl" userId="4951d46f-b647-4b3c-b822-5808962dcca8" providerId="ADAL" clId="{C4A21C12-107D-40B1-A277-953C3871C887}" dt="2023-08-14T16:48:32.206" v="334" actId="1076"/>
          <ac:spMkLst>
            <pc:docMk/>
            <pc:sldMk cId="366566122" sldId="3169"/>
            <ac:spMk id="2" creationId="{C72C046B-748F-2966-8D33-704DBECE45E3}"/>
          </ac:spMkLst>
        </pc:spChg>
        <pc:spChg chg="mod">
          <ac:chgData name="Shelley Earl" userId="4951d46f-b647-4b3c-b822-5808962dcca8" providerId="ADAL" clId="{C4A21C12-107D-40B1-A277-953C3871C887}" dt="2023-08-15T13:10:08.253" v="679" actId="1076"/>
          <ac:spMkLst>
            <pc:docMk/>
            <pc:sldMk cId="366566122" sldId="3169"/>
            <ac:spMk id="3" creationId="{1FCB5CA6-DE9D-8ED8-1E63-5A2D9238C6B5}"/>
          </ac:spMkLst>
        </pc:spChg>
      </pc:sldChg>
      <pc:sldChg chg="modSp mod">
        <pc:chgData name="Shelley Earl" userId="4951d46f-b647-4b3c-b822-5808962dcca8" providerId="ADAL" clId="{C4A21C12-107D-40B1-A277-953C3871C887}" dt="2023-08-15T13:10:14.596" v="680" actId="1076"/>
        <pc:sldMkLst>
          <pc:docMk/>
          <pc:sldMk cId="1972461791" sldId="3170"/>
        </pc:sldMkLst>
        <pc:spChg chg="mod">
          <ac:chgData name="Shelley Earl" userId="4951d46f-b647-4b3c-b822-5808962dcca8" providerId="ADAL" clId="{C4A21C12-107D-40B1-A277-953C3871C887}" dt="2023-08-14T16:49:05.788" v="336" actId="1076"/>
          <ac:spMkLst>
            <pc:docMk/>
            <pc:sldMk cId="1972461791" sldId="3170"/>
            <ac:spMk id="2" creationId="{C72C046B-748F-2966-8D33-704DBECE45E3}"/>
          </ac:spMkLst>
        </pc:spChg>
        <pc:spChg chg="mod">
          <ac:chgData name="Shelley Earl" userId="4951d46f-b647-4b3c-b822-5808962dcca8" providerId="ADAL" clId="{C4A21C12-107D-40B1-A277-953C3871C887}" dt="2023-08-15T13:10:14.596" v="680" actId="1076"/>
          <ac:spMkLst>
            <pc:docMk/>
            <pc:sldMk cId="1972461791" sldId="3170"/>
            <ac:spMk id="3" creationId="{1FCB5CA6-DE9D-8ED8-1E63-5A2D9238C6B5}"/>
          </ac:spMkLst>
        </pc:spChg>
      </pc:sldChg>
      <pc:sldChg chg="modSp mod">
        <pc:chgData name="Shelley Earl" userId="4951d46f-b647-4b3c-b822-5808962dcca8" providerId="ADAL" clId="{C4A21C12-107D-40B1-A277-953C3871C887}" dt="2023-08-14T16:49:40.003" v="338" actId="1076"/>
        <pc:sldMkLst>
          <pc:docMk/>
          <pc:sldMk cId="847624996" sldId="3171"/>
        </pc:sldMkLst>
        <pc:spChg chg="mod">
          <ac:chgData name="Shelley Earl" userId="4951d46f-b647-4b3c-b822-5808962dcca8" providerId="ADAL" clId="{C4A21C12-107D-40B1-A277-953C3871C887}" dt="2023-08-14T16:49:40.003" v="338" actId="1076"/>
          <ac:spMkLst>
            <pc:docMk/>
            <pc:sldMk cId="847624996" sldId="3171"/>
            <ac:spMk id="2" creationId="{C72C046B-748F-2966-8D33-704DBECE45E3}"/>
          </ac:spMkLst>
        </pc:spChg>
      </pc:sldChg>
      <pc:sldChg chg="modSp mod">
        <pc:chgData name="Shelley Earl" userId="4951d46f-b647-4b3c-b822-5808962dcca8" providerId="ADAL" clId="{C4A21C12-107D-40B1-A277-953C3871C887}" dt="2023-08-15T13:10:54.410" v="681" actId="1076"/>
        <pc:sldMkLst>
          <pc:docMk/>
          <pc:sldMk cId="3318256499" sldId="3172"/>
        </pc:sldMkLst>
        <pc:spChg chg="mod">
          <ac:chgData name="Shelley Earl" userId="4951d46f-b647-4b3c-b822-5808962dcca8" providerId="ADAL" clId="{C4A21C12-107D-40B1-A277-953C3871C887}" dt="2023-08-14T16:49:46.351" v="339" actId="1076"/>
          <ac:spMkLst>
            <pc:docMk/>
            <pc:sldMk cId="3318256499" sldId="3172"/>
            <ac:spMk id="2" creationId="{C72C046B-748F-2966-8D33-704DBECE45E3}"/>
          </ac:spMkLst>
        </pc:spChg>
        <pc:spChg chg="mod">
          <ac:chgData name="Shelley Earl" userId="4951d46f-b647-4b3c-b822-5808962dcca8" providerId="ADAL" clId="{C4A21C12-107D-40B1-A277-953C3871C887}" dt="2023-08-15T13:10:54.410" v="681" actId="1076"/>
          <ac:spMkLst>
            <pc:docMk/>
            <pc:sldMk cId="3318256499" sldId="3172"/>
            <ac:spMk id="3" creationId="{1FCB5CA6-DE9D-8ED8-1E63-5A2D9238C6B5}"/>
          </ac:spMkLst>
        </pc:spChg>
      </pc:sldChg>
      <pc:sldChg chg="modSp mod">
        <pc:chgData name="Shelley Earl" userId="4951d46f-b647-4b3c-b822-5808962dcca8" providerId="ADAL" clId="{C4A21C12-107D-40B1-A277-953C3871C887}" dt="2023-08-14T16:50:07.593" v="341" actId="1076"/>
        <pc:sldMkLst>
          <pc:docMk/>
          <pc:sldMk cId="841699883" sldId="3173"/>
        </pc:sldMkLst>
        <pc:spChg chg="mod">
          <ac:chgData name="Shelley Earl" userId="4951d46f-b647-4b3c-b822-5808962dcca8" providerId="ADAL" clId="{C4A21C12-107D-40B1-A277-953C3871C887}" dt="2023-08-14T16:50:07.593" v="341" actId="1076"/>
          <ac:spMkLst>
            <pc:docMk/>
            <pc:sldMk cId="841699883" sldId="3173"/>
            <ac:spMk id="2" creationId="{C72C046B-748F-2966-8D33-704DBECE45E3}"/>
          </ac:spMkLst>
        </pc:spChg>
      </pc:sldChg>
      <pc:sldChg chg="modSp mod">
        <pc:chgData name="Shelley Earl" userId="4951d46f-b647-4b3c-b822-5808962dcca8" providerId="ADAL" clId="{C4A21C12-107D-40B1-A277-953C3871C887}" dt="2023-08-14T16:50:48.829" v="342" actId="1076"/>
        <pc:sldMkLst>
          <pc:docMk/>
          <pc:sldMk cId="3411562657" sldId="3174"/>
        </pc:sldMkLst>
        <pc:spChg chg="mod">
          <ac:chgData name="Shelley Earl" userId="4951d46f-b647-4b3c-b822-5808962dcca8" providerId="ADAL" clId="{C4A21C12-107D-40B1-A277-953C3871C887}" dt="2023-08-14T16:50:48.829" v="342" actId="1076"/>
          <ac:spMkLst>
            <pc:docMk/>
            <pc:sldMk cId="3411562657" sldId="3174"/>
            <ac:spMk id="2" creationId="{C72C046B-748F-2966-8D33-704DBECE45E3}"/>
          </ac:spMkLst>
        </pc:spChg>
      </pc:sldChg>
      <pc:sldChg chg="modNotesTx">
        <pc:chgData name="Shelley Earl" userId="4951d46f-b647-4b3c-b822-5808962dcca8" providerId="ADAL" clId="{C4A21C12-107D-40B1-A277-953C3871C887}" dt="2023-08-15T13:13:08.285" v="682"/>
        <pc:sldMkLst>
          <pc:docMk/>
          <pc:sldMk cId="2319080587" sldId="3176"/>
        </pc:sldMkLst>
      </pc:sldChg>
      <pc:sldChg chg="modSp mod">
        <pc:chgData name="Shelley Earl" userId="4951d46f-b647-4b3c-b822-5808962dcca8" providerId="ADAL" clId="{C4A21C12-107D-40B1-A277-953C3871C887}" dt="2023-08-14T16:51:44.843" v="349" actId="1076"/>
        <pc:sldMkLst>
          <pc:docMk/>
          <pc:sldMk cId="1879323484" sldId="3177"/>
        </pc:sldMkLst>
        <pc:spChg chg="mod">
          <ac:chgData name="Shelley Earl" userId="4951d46f-b647-4b3c-b822-5808962dcca8" providerId="ADAL" clId="{C4A21C12-107D-40B1-A277-953C3871C887}" dt="2023-08-14T16:51:21.040" v="344" actId="1076"/>
          <ac:spMkLst>
            <pc:docMk/>
            <pc:sldMk cId="1879323484" sldId="3177"/>
            <ac:spMk id="2" creationId="{C72C046B-748F-2966-8D33-704DBECE45E3}"/>
          </ac:spMkLst>
        </pc:spChg>
        <pc:spChg chg="mod">
          <ac:chgData name="Shelley Earl" userId="4951d46f-b647-4b3c-b822-5808962dcca8" providerId="ADAL" clId="{C4A21C12-107D-40B1-A277-953C3871C887}" dt="2023-08-14T16:51:36.532" v="347" actId="255"/>
          <ac:spMkLst>
            <pc:docMk/>
            <pc:sldMk cId="1879323484" sldId="3177"/>
            <ac:spMk id="3" creationId="{1FCB5CA6-DE9D-8ED8-1E63-5A2D9238C6B5}"/>
          </ac:spMkLst>
        </pc:spChg>
        <pc:picChg chg="mod">
          <ac:chgData name="Shelley Earl" userId="4951d46f-b647-4b3c-b822-5808962dcca8" providerId="ADAL" clId="{C4A21C12-107D-40B1-A277-953C3871C887}" dt="2023-08-14T16:51:44.843" v="349" actId="1076"/>
          <ac:picMkLst>
            <pc:docMk/>
            <pc:sldMk cId="1879323484" sldId="3177"/>
            <ac:picMk id="6" creationId="{90F8E6A6-30EB-365D-1431-43458458E5E9}"/>
          </ac:picMkLst>
        </pc:picChg>
      </pc:sldChg>
      <pc:sldChg chg="addSp delSp modSp mod">
        <pc:chgData name="Shelley Earl" userId="4951d46f-b647-4b3c-b822-5808962dcca8" providerId="ADAL" clId="{C4A21C12-107D-40B1-A277-953C3871C887}" dt="2023-08-15T13:13:39.165" v="683" actId="1076"/>
        <pc:sldMkLst>
          <pc:docMk/>
          <pc:sldMk cId="3391145226" sldId="3178"/>
        </pc:sldMkLst>
        <pc:spChg chg="mod">
          <ac:chgData name="Shelley Earl" userId="4951d46f-b647-4b3c-b822-5808962dcca8" providerId="ADAL" clId="{C4A21C12-107D-40B1-A277-953C3871C887}" dt="2023-08-14T16:52:46.490" v="352" actId="26606"/>
          <ac:spMkLst>
            <pc:docMk/>
            <pc:sldMk cId="3391145226" sldId="3178"/>
            <ac:spMk id="2" creationId="{B83F9F2C-98A9-03B3-3B8B-468EAE0D586B}"/>
          </ac:spMkLst>
        </pc:spChg>
        <pc:spChg chg="add del mod">
          <ac:chgData name="Shelley Earl" userId="4951d46f-b647-4b3c-b822-5808962dcca8" providerId="ADAL" clId="{C4A21C12-107D-40B1-A277-953C3871C887}" dt="2023-08-15T13:13:39.165" v="683" actId="1076"/>
          <ac:spMkLst>
            <pc:docMk/>
            <pc:sldMk cId="3391145226" sldId="3178"/>
            <ac:spMk id="3" creationId="{52A81DBC-972E-15E5-E1B8-5D8C2FF0A0CD}"/>
          </ac:spMkLst>
        </pc:spChg>
        <pc:spChg chg="mod">
          <ac:chgData name="Shelley Earl" userId="4951d46f-b647-4b3c-b822-5808962dcca8" providerId="ADAL" clId="{C4A21C12-107D-40B1-A277-953C3871C887}" dt="2023-08-14T16:52:46.490" v="352" actId="26606"/>
          <ac:spMkLst>
            <pc:docMk/>
            <pc:sldMk cId="3391145226" sldId="3178"/>
            <ac:spMk id="5" creationId="{468842F1-B059-AA0F-8E4C-99A6D4D5D997}"/>
          </ac:spMkLst>
        </pc:spChg>
        <pc:spChg chg="add del">
          <ac:chgData name="Shelley Earl" userId="4951d46f-b647-4b3c-b822-5808962dcca8" providerId="ADAL" clId="{C4A21C12-107D-40B1-A277-953C3871C887}" dt="2023-08-14T16:52:46.490" v="352" actId="26606"/>
          <ac:spMkLst>
            <pc:docMk/>
            <pc:sldMk cId="3391145226" sldId="3178"/>
            <ac:spMk id="11" creationId="{FDCF3125-C369-6554-3E50-027F6488D69C}"/>
          </ac:spMkLst>
        </pc:spChg>
        <pc:graphicFrameChg chg="add del">
          <ac:chgData name="Shelley Earl" userId="4951d46f-b647-4b3c-b822-5808962dcca8" providerId="ADAL" clId="{C4A21C12-107D-40B1-A277-953C3871C887}" dt="2023-08-14T16:52:46.490" v="352" actId="26606"/>
          <ac:graphicFrameMkLst>
            <pc:docMk/>
            <pc:sldMk cId="3391145226" sldId="3178"/>
            <ac:graphicFrameMk id="7" creationId="{5ED4BBD8-6877-847B-BD38-4AAEB0EC1A01}"/>
          </ac:graphicFrameMkLst>
        </pc:graphicFrameChg>
      </pc:sldChg>
      <pc:sldChg chg="modSp mod">
        <pc:chgData name="Shelley Earl" userId="4951d46f-b647-4b3c-b822-5808962dcca8" providerId="ADAL" clId="{C4A21C12-107D-40B1-A277-953C3871C887}" dt="2023-08-15T13:13:54.638" v="685" actId="6549"/>
        <pc:sldMkLst>
          <pc:docMk/>
          <pc:sldMk cId="938899446" sldId="3179"/>
        </pc:sldMkLst>
        <pc:spChg chg="mod">
          <ac:chgData name="Shelley Earl" userId="4951d46f-b647-4b3c-b822-5808962dcca8" providerId="ADAL" clId="{C4A21C12-107D-40B1-A277-953C3871C887}" dt="2023-08-15T13:13:54.638" v="685" actId="6549"/>
          <ac:spMkLst>
            <pc:docMk/>
            <pc:sldMk cId="938899446" sldId="3179"/>
            <ac:spMk id="2" creationId="{B83F9F2C-98A9-03B3-3B8B-468EAE0D586B}"/>
          </ac:spMkLst>
        </pc:spChg>
      </pc:sldChg>
      <pc:sldChg chg="modSp mod">
        <pc:chgData name="Shelley Earl" userId="4951d46f-b647-4b3c-b822-5808962dcca8" providerId="ADAL" clId="{C4A21C12-107D-40B1-A277-953C3871C887}" dt="2023-08-15T13:14:11.466" v="686" actId="1076"/>
        <pc:sldMkLst>
          <pc:docMk/>
          <pc:sldMk cId="3532830031" sldId="3180"/>
        </pc:sldMkLst>
        <pc:spChg chg="mod">
          <ac:chgData name="Shelley Earl" userId="4951d46f-b647-4b3c-b822-5808962dcca8" providerId="ADAL" clId="{C4A21C12-107D-40B1-A277-953C3871C887}" dt="2023-08-15T13:14:11.466" v="686" actId="1076"/>
          <ac:spMkLst>
            <pc:docMk/>
            <pc:sldMk cId="3532830031" sldId="3180"/>
            <ac:spMk id="2" creationId="{B83F9F2C-98A9-03B3-3B8B-468EAE0D586B}"/>
          </ac:spMkLst>
        </pc:spChg>
        <pc:spChg chg="mod">
          <ac:chgData name="Shelley Earl" userId="4951d46f-b647-4b3c-b822-5808962dcca8" providerId="ADAL" clId="{C4A21C12-107D-40B1-A277-953C3871C887}" dt="2023-08-14T16:53:34.292" v="356" actId="255"/>
          <ac:spMkLst>
            <pc:docMk/>
            <pc:sldMk cId="3532830031" sldId="3180"/>
            <ac:spMk id="3" creationId="{52A81DBC-972E-15E5-E1B8-5D8C2FF0A0CD}"/>
          </ac:spMkLst>
        </pc:spChg>
      </pc:sldChg>
      <pc:sldChg chg="modSp mod">
        <pc:chgData name="Shelley Earl" userId="4951d46f-b647-4b3c-b822-5808962dcca8" providerId="ADAL" clId="{C4A21C12-107D-40B1-A277-953C3871C887}" dt="2023-08-15T13:14:26.076" v="687" actId="1076"/>
        <pc:sldMkLst>
          <pc:docMk/>
          <pc:sldMk cId="2267173267" sldId="3181"/>
        </pc:sldMkLst>
        <pc:spChg chg="mod">
          <ac:chgData name="Shelley Earl" userId="4951d46f-b647-4b3c-b822-5808962dcca8" providerId="ADAL" clId="{C4A21C12-107D-40B1-A277-953C3871C887}" dt="2023-08-14T16:53:55.551" v="357" actId="255"/>
          <ac:spMkLst>
            <pc:docMk/>
            <pc:sldMk cId="2267173267" sldId="3181"/>
            <ac:spMk id="2" creationId="{B83F9F2C-98A9-03B3-3B8B-468EAE0D586B}"/>
          </ac:spMkLst>
        </pc:spChg>
        <pc:spChg chg="mod">
          <ac:chgData name="Shelley Earl" userId="4951d46f-b647-4b3c-b822-5808962dcca8" providerId="ADAL" clId="{C4A21C12-107D-40B1-A277-953C3871C887}" dt="2023-08-15T13:14:26.076" v="687" actId="1076"/>
          <ac:spMkLst>
            <pc:docMk/>
            <pc:sldMk cId="2267173267" sldId="3181"/>
            <ac:spMk id="3" creationId="{52A81DBC-972E-15E5-E1B8-5D8C2FF0A0CD}"/>
          </ac:spMkLst>
        </pc:spChg>
      </pc:sldChg>
      <pc:sldChg chg="modSp mod">
        <pc:chgData name="Shelley Earl" userId="4951d46f-b647-4b3c-b822-5808962dcca8" providerId="ADAL" clId="{C4A21C12-107D-40B1-A277-953C3871C887}" dt="2023-08-15T13:14:46.687" v="689" actId="1076"/>
        <pc:sldMkLst>
          <pc:docMk/>
          <pc:sldMk cId="3920003977" sldId="3182"/>
        </pc:sldMkLst>
        <pc:spChg chg="mod">
          <ac:chgData name="Shelley Earl" userId="4951d46f-b647-4b3c-b822-5808962dcca8" providerId="ADAL" clId="{C4A21C12-107D-40B1-A277-953C3871C887}" dt="2023-08-15T13:14:46.687" v="689" actId="1076"/>
          <ac:spMkLst>
            <pc:docMk/>
            <pc:sldMk cId="3920003977" sldId="3182"/>
            <ac:spMk id="3" creationId="{52A81DBC-972E-15E5-E1B8-5D8C2FF0A0CD}"/>
          </ac:spMkLst>
        </pc:spChg>
      </pc:sldChg>
      <pc:sldChg chg="modSp mod">
        <pc:chgData name="Shelley Earl" userId="4951d46f-b647-4b3c-b822-5808962dcca8" providerId="ADAL" clId="{C4A21C12-107D-40B1-A277-953C3871C887}" dt="2023-08-14T16:55:21.339" v="363" actId="255"/>
        <pc:sldMkLst>
          <pc:docMk/>
          <pc:sldMk cId="723987" sldId="3183"/>
        </pc:sldMkLst>
        <pc:spChg chg="mod">
          <ac:chgData name="Shelley Earl" userId="4951d46f-b647-4b3c-b822-5808962dcca8" providerId="ADAL" clId="{C4A21C12-107D-40B1-A277-953C3871C887}" dt="2023-08-14T16:55:21.339" v="363" actId="255"/>
          <ac:spMkLst>
            <pc:docMk/>
            <pc:sldMk cId="723987" sldId="3183"/>
            <ac:spMk id="3" creationId="{9FECB5C6-5D7A-A5C8-83AD-E99363F963F7}"/>
          </ac:spMkLst>
        </pc:spChg>
      </pc:sldChg>
      <pc:sldChg chg="modSp mod">
        <pc:chgData name="Shelley Earl" userId="4951d46f-b647-4b3c-b822-5808962dcca8" providerId="ADAL" clId="{C4A21C12-107D-40B1-A277-953C3871C887}" dt="2023-08-15T13:15:27.716" v="690" actId="20577"/>
        <pc:sldMkLst>
          <pc:docMk/>
          <pc:sldMk cId="2712809868" sldId="3184"/>
        </pc:sldMkLst>
        <pc:spChg chg="mod">
          <ac:chgData name="Shelley Earl" userId="4951d46f-b647-4b3c-b822-5808962dcca8" providerId="ADAL" clId="{C4A21C12-107D-40B1-A277-953C3871C887}" dt="2023-08-14T16:55:38.096" v="364" actId="255"/>
          <ac:spMkLst>
            <pc:docMk/>
            <pc:sldMk cId="2712809868" sldId="3184"/>
            <ac:spMk id="2" creationId="{AC8CD9EB-EEFC-5174-6730-47999618FD31}"/>
          </ac:spMkLst>
        </pc:spChg>
        <pc:spChg chg="mod">
          <ac:chgData name="Shelley Earl" userId="4951d46f-b647-4b3c-b822-5808962dcca8" providerId="ADAL" clId="{C4A21C12-107D-40B1-A277-953C3871C887}" dt="2023-08-15T13:15:27.716" v="690" actId="20577"/>
          <ac:spMkLst>
            <pc:docMk/>
            <pc:sldMk cId="2712809868" sldId="3184"/>
            <ac:spMk id="3" creationId="{9FECB5C6-5D7A-A5C8-83AD-E99363F963F7}"/>
          </ac:spMkLst>
        </pc:spChg>
      </pc:sldChg>
      <pc:sldChg chg="modSp mod">
        <pc:chgData name="Shelley Earl" userId="4951d46f-b647-4b3c-b822-5808962dcca8" providerId="ADAL" clId="{C4A21C12-107D-40B1-A277-953C3871C887}" dt="2023-08-15T13:15:46.545" v="691" actId="20577"/>
        <pc:sldMkLst>
          <pc:docMk/>
          <pc:sldMk cId="1980672150" sldId="3186"/>
        </pc:sldMkLst>
        <pc:spChg chg="mod">
          <ac:chgData name="Shelley Earl" userId="4951d46f-b647-4b3c-b822-5808962dcca8" providerId="ADAL" clId="{C4A21C12-107D-40B1-A277-953C3871C887}" dt="2023-08-15T13:15:46.545" v="691" actId="20577"/>
          <ac:spMkLst>
            <pc:docMk/>
            <pc:sldMk cId="1980672150" sldId="3186"/>
            <ac:spMk id="3" creationId="{9FECB5C6-5D7A-A5C8-83AD-E99363F963F7}"/>
          </ac:spMkLst>
        </pc:spChg>
      </pc:sldChg>
      <pc:sldChg chg="modSp mod">
        <pc:chgData name="Shelley Earl" userId="4951d46f-b647-4b3c-b822-5808962dcca8" providerId="ADAL" clId="{C4A21C12-107D-40B1-A277-953C3871C887}" dt="2023-08-14T16:56:48.784" v="372" actId="1076"/>
        <pc:sldMkLst>
          <pc:docMk/>
          <pc:sldMk cId="3872904919" sldId="3187"/>
        </pc:sldMkLst>
        <pc:spChg chg="mod">
          <ac:chgData name="Shelley Earl" userId="4951d46f-b647-4b3c-b822-5808962dcca8" providerId="ADAL" clId="{C4A21C12-107D-40B1-A277-953C3871C887}" dt="2023-08-14T16:56:44.440" v="371" actId="255"/>
          <ac:spMkLst>
            <pc:docMk/>
            <pc:sldMk cId="3872904919" sldId="3187"/>
            <ac:spMk id="3" creationId="{9FECB5C6-5D7A-A5C8-83AD-E99363F963F7}"/>
          </ac:spMkLst>
        </pc:spChg>
        <pc:picChg chg="mod">
          <ac:chgData name="Shelley Earl" userId="4951d46f-b647-4b3c-b822-5808962dcca8" providerId="ADAL" clId="{C4A21C12-107D-40B1-A277-953C3871C887}" dt="2023-08-14T16:56:48.784" v="372" actId="1076"/>
          <ac:picMkLst>
            <pc:docMk/>
            <pc:sldMk cId="3872904919" sldId="3187"/>
            <ac:picMk id="6" creationId="{5D3165E0-8FA6-22AF-32F4-F0344DCFAABF}"/>
          </ac:picMkLst>
        </pc:picChg>
      </pc:sldChg>
      <pc:sldChg chg="modSp mod">
        <pc:chgData name="Shelley Earl" userId="4951d46f-b647-4b3c-b822-5808962dcca8" providerId="ADAL" clId="{C4A21C12-107D-40B1-A277-953C3871C887}" dt="2023-08-14T16:57:20.068" v="373" actId="255"/>
        <pc:sldMkLst>
          <pc:docMk/>
          <pc:sldMk cId="2243516077" sldId="3188"/>
        </pc:sldMkLst>
        <pc:spChg chg="mod">
          <ac:chgData name="Shelley Earl" userId="4951d46f-b647-4b3c-b822-5808962dcca8" providerId="ADAL" clId="{C4A21C12-107D-40B1-A277-953C3871C887}" dt="2023-08-14T16:57:20.068" v="373" actId="255"/>
          <ac:spMkLst>
            <pc:docMk/>
            <pc:sldMk cId="2243516077" sldId="3188"/>
            <ac:spMk id="3" creationId="{9FECB5C6-5D7A-A5C8-83AD-E99363F963F7}"/>
          </ac:spMkLst>
        </pc:spChg>
      </pc:sldChg>
      <pc:sldChg chg="modSp mod">
        <pc:chgData name="Shelley Earl" userId="4951d46f-b647-4b3c-b822-5808962dcca8" providerId="ADAL" clId="{C4A21C12-107D-40B1-A277-953C3871C887}" dt="2023-08-14T16:57:48.848" v="376" actId="1076"/>
        <pc:sldMkLst>
          <pc:docMk/>
          <pc:sldMk cId="893397587" sldId="3189"/>
        </pc:sldMkLst>
        <pc:spChg chg="mod">
          <ac:chgData name="Shelley Earl" userId="4951d46f-b647-4b3c-b822-5808962dcca8" providerId="ADAL" clId="{C4A21C12-107D-40B1-A277-953C3871C887}" dt="2023-08-14T16:57:46.965" v="375" actId="1076"/>
          <ac:spMkLst>
            <pc:docMk/>
            <pc:sldMk cId="893397587" sldId="3189"/>
            <ac:spMk id="3" creationId="{9FECB5C6-5D7A-A5C8-83AD-E99363F963F7}"/>
          </ac:spMkLst>
        </pc:spChg>
        <pc:picChg chg="mod">
          <ac:chgData name="Shelley Earl" userId="4951d46f-b647-4b3c-b822-5808962dcca8" providerId="ADAL" clId="{C4A21C12-107D-40B1-A277-953C3871C887}" dt="2023-08-14T16:57:48.848" v="376" actId="1076"/>
          <ac:picMkLst>
            <pc:docMk/>
            <pc:sldMk cId="893397587" sldId="3189"/>
            <ac:picMk id="4" creationId="{B3766E41-DDC0-FD40-1644-2ACE74CDACA5}"/>
          </ac:picMkLst>
        </pc:picChg>
      </pc:sldChg>
      <pc:sldChg chg="modSp mod">
        <pc:chgData name="Shelley Earl" userId="4951d46f-b647-4b3c-b822-5808962dcca8" providerId="ADAL" clId="{C4A21C12-107D-40B1-A277-953C3871C887}" dt="2023-08-15T13:16:50.932" v="692" actId="1076"/>
        <pc:sldMkLst>
          <pc:docMk/>
          <pc:sldMk cId="3099211673" sldId="3190"/>
        </pc:sldMkLst>
        <pc:spChg chg="mod">
          <ac:chgData name="Shelley Earl" userId="4951d46f-b647-4b3c-b822-5808962dcca8" providerId="ADAL" clId="{C4A21C12-107D-40B1-A277-953C3871C887}" dt="2023-08-15T13:16:50.932" v="692" actId="1076"/>
          <ac:spMkLst>
            <pc:docMk/>
            <pc:sldMk cId="3099211673" sldId="3190"/>
            <ac:spMk id="3" creationId="{9FECB5C6-5D7A-A5C8-83AD-E99363F963F7}"/>
          </ac:spMkLst>
        </pc:spChg>
      </pc:sldChg>
      <pc:sldChg chg="modSp mod">
        <pc:chgData name="Shelley Earl" userId="4951d46f-b647-4b3c-b822-5808962dcca8" providerId="ADAL" clId="{C4A21C12-107D-40B1-A277-953C3871C887}" dt="2023-08-14T16:58:33.527" v="379" actId="1076"/>
        <pc:sldMkLst>
          <pc:docMk/>
          <pc:sldMk cId="1814967876" sldId="3193"/>
        </pc:sldMkLst>
        <pc:spChg chg="mod">
          <ac:chgData name="Shelley Earl" userId="4951d46f-b647-4b3c-b822-5808962dcca8" providerId="ADAL" clId="{C4A21C12-107D-40B1-A277-953C3871C887}" dt="2023-08-14T16:58:31.719" v="378" actId="1076"/>
          <ac:spMkLst>
            <pc:docMk/>
            <pc:sldMk cId="1814967876" sldId="3193"/>
            <ac:spMk id="3" creationId="{9FECB5C6-5D7A-A5C8-83AD-E99363F963F7}"/>
          </ac:spMkLst>
        </pc:spChg>
        <pc:picChg chg="mod">
          <ac:chgData name="Shelley Earl" userId="4951d46f-b647-4b3c-b822-5808962dcca8" providerId="ADAL" clId="{C4A21C12-107D-40B1-A277-953C3871C887}" dt="2023-08-14T16:58:33.527" v="379" actId="1076"/>
          <ac:picMkLst>
            <pc:docMk/>
            <pc:sldMk cId="1814967876" sldId="3193"/>
            <ac:picMk id="4" creationId="{9E94C320-9C6F-1F51-9FE9-39C212E9C48F}"/>
          </ac:picMkLst>
        </pc:picChg>
      </pc:sldChg>
      <pc:sldChg chg="modSp mod">
        <pc:chgData name="Shelley Earl" userId="4951d46f-b647-4b3c-b822-5808962dcca8" providerId="ADAL" clId="{C4A21C12-107D-40B1-A277-953C3871C887}" dt="2023-08-14T16:58:55.124" v="381" actId="255"/>
        <pc:sldMkLst>
          <pc:docMk/>
          <pc:sldMk cId="3587133249" sldId="3194"/>
        </pc:sldMkLst>
        <pc:spChg chg="mod">
          <ac:chgData name="Shelley Earl" userId="4951d46f-b647-4b3c-b822-5808962dcca8" providerId="ADAL" clId="{C4A21C12-107D-40B1-A277-953C3871C887}" dt="2023-08-14T16:58:55.124" v="381" actId="255"/>
          <ac:spMkLst>
            <pc:docMk/>
            <pc:sldMk cId="3587133249" sldId="3194"/>
            <ac:spMk id="3" creationId="{9FECB5C6-5D7A-A5C8-83AD-E99363F963F7}"/>
          </ac:spMkLst>
        </pc:spChg>
      </pc:sldChg>
      <pc:sldChg chg="modSp mod">
        <pc:chgData name="Shelley Earl" userId="4951d46f-b647-4b3c-b822-5808962dcca8" providerId="ADAL" clId="{C4A21C12-107D-40B1-A277-953C3871C887}" dt="2023-08-14T16:59:06.796" v="383" actId="1076"/>
        <pc:sldMkLst>
          <pc:docMk/>
          <pc:sldMk cId="1584838408" sldId="3195"/>
        </pc:sldMkLst>
        <pc:spChg chg="mod">
          <ac:chgData name="Shelley Earl" userId="4951d46f-b647-4b3c-b822-5808962dcca8" providerId="ADAL" clId="{C4A21C12-107D-40B1-A277-953C3871C887}" dt="2023-08-14T16:59:03.873" v="382" actId="1076"/>
          <ac:spMkLst>
            <pc:docMk/>
            <pc:sldMk cId="1584838408" sldId="3195"/>
            <ac:spMk id="3" creationId="{9FECB5C6-5D7A-A5C8-83AD-E99363F963F7}"/>
          </ac:spMkLst>
        </pc:spChg>
        <pc:picChg chg="mod">
          <ac:chgData name="Shelley Earl" userId="4951d46f-b647-4b3c-b822-5808962dcca8" providerId="ADAL" clId="{C4A21C12-107D-40B1-A277-953C3871C887}" dt="2023-08-14T16:59:06.796" v="383" actId="1076"/>
          <ac:picMkLst>
            <pc:docMk/>
            <pc:sldMk cId="1584838408" sldId="3195"/>
            <ac:picMk id="4" creationId="{7AAFBFA4-8FB0-4EA2-5C4D-8BD80808C31E}"/>
          </ac:picMkLst>
        </pc:picChg>
      </pc:sldChg>
      <pc:sldChg chg="modSp mod">
        <pc:chgData name="Shelley Earl" userId="4951d46f-b647-4b3c-b822-5808962dcca8" providerId="ADAL" clId="{C4A21C12-107D-40B1-A277-953C3871C887}" dt="2023-08-14T16:59:55.310" v="441" actId="20577"/>
        <pc:sldMkLst>
          <pc:docMk/>
          <pc:sldMk cId="849390399" sldId="3198"/>
        </pc:sldMkLst>
        <pc:spChg chg="mod">
          <ac:chgData name="Shelley Earl" userId="4951d46f-b647-4b3c-b822-5808962dcca8" providerId="ADAL" clId="{C4A21C12-107D-40B1-A277-953C3871C887}" dt="2023-08-14T16:59:55.310" v="441" actId="20577"/>
          <ac:spMkLst>
            <pc:docMk/>
            <pc:sldMk cId="849390399" sldId="3198"/>
            <ac:spMk id="3" creationId="{9FECB5C6-5D7A-A5C8-83AD-E99363F963F7}"/>
          </ac:spMkLst>
        </pc:spChg>
      </pc:sldChg>
      <pc:sldChg chg="modSp mod">
        <pc:chgData name="Shelley Earl" userId="4951d46f-b647-4b3c-b822-5808962dcca8" providerId="ADAL" clId="{C4A21C12-107D-40B1-A277-953C3871C887}" dt="2023-08-14T17:00:50.268" v="448" actId="1076"/>
        <pc:sldMkLst>
          <pc:docMk/>
          <pc:sldMk cId="4218093146" sldId="3199"/>
        </pc:sldMkLst>
        <pc:spChg chg="mod">
          <ac:chgData name="Shelley Earl" userId="4951d46f-b647-4b3c-b822-5808962dcca8" providerId="ADAL" clId="{C4A21C12-107D-40B1-A277-953C3871C887}" dt="2023-08-14T17:00:41.741" v="447" actId="1076"/>
          <ac:spMkLst>
            <pc:docMk/>
            <pc:sldMk cId="4218093146" sldId="3199"/>
            <ac:spMk id="3" creationId="{9FECB5C6-5D7A-A5C8-83AD-E99363F963F7}"/>
          </ac:spMkLst>
        </pc:spChg>
        <pc:picChg chg="mod">
          <ac:chgData name="Shelley Earl" userId="4951d46f-b647-4b3c-b822-5808962dcca8" providerId="ADAL" clId="{C4A21C12-107D-40B1-A277-953C3871C887}" dt="2023-08-14T17:00:50.268" v="448" actId="1076"/>
          <ac:picMkLst>
            <pc:docMk/>
            <pc:sldMk cId="4218093146" sldId="3199"/>
            <ac:picMk id="6" creationId="{6762A2BD-67B3-C15D-6D77-EE4118D2AF0D}"/>
          </ac:picMkLst>
        </pc:picChg>
      </pc:sldChg>
      <pc:sldChg chg="addSp delSp modSp mod modClrScheme chgLayout">
        <pc:chgData name="Shelley Earl" userId="4951d46f-b647-4b3c-b822-5808962dcca8" providerId="ADAL" clId="{C4A21C12-107D-40B1-A277-953C3871C887}" dt="2023-08-15T13:19:59.795" v="693" actId="1076"/>
        <pc:sldMkLst>
          <pc:docMk/>
          <pc:sldMk cId="3040046042" sldId="3200"/>
        </pc:sldMkLst>
        <pc:spChg chg="mod">
          <ac:chgData name="Shelley Earl" userId="4951d46f-b647-4b3c-b822-5808962dcca8" providerId="ADAL" clId="{C4A21C12-107D-40B1-A277-953C3871C887}" dt="2023-08-14T17:02:42.456" v="463" actId="255"/>
          <ac:spMkLst>
            <pc:docMk/>
            <pc:sldMk cId="3040046042" sldId="3200"/>
            <ac:spMk id="2" creationId="{AC8CD9EB-EEFC-5174-6730-47999618FD31}"/>
          </ac:spMkLst>
        </pc:spChg>
        <pc:spChg chg="del mod">
          <ac:chgData name="Shelley Earl" userId="4951d46f-b647-4b3c-b822-5808962dcca8" providerId="ADAL" clId="{C4A21C12-107D-40B1-A277-953C3871C887}" dt="2023-08-14T17:01:13.515" v="450" actId="26606"/>
          <ac:spMkLst>
            <pc:docMk/>
            <pc:sldMk cId="3040046042" sldId="3200"/>
            <ac:spMk id="3" creationId="{9FECB5C6-5D7A-A5C8-83AD-E99363F963F7}"/>
          </ac:spMkLst>
        </pc:spChg>
        <pc:spChg chg="mod modVis">
          <ac:chgData name="Shelley Earl" userId="4951d46f-b647-4b3c-b822-5808962dcca8" providerId="ADAL" clId="{C4A21C12-107D-40B1-A277-953C3871C887}" dt="2023-08-14T17:01:13.515" v="450" actId="26606"/>
          <ac:spMkLst>
            <pc:docMk/>
            <pc:sldMk cId="3040046042" sldId="3200"/>
            <ac:spMk id="5" creationId="{D38F08CA-6F10-E41E-B196-1B7057928E54}"/>
          </ac:spMkLst>
        </pc:spChg>
        <pc:spChg chg="add del mod">
          <ac:chgData name="Shelley Earl" userId="4951d46f-b647-4b3c-b822-5808962dcca8" providerId="ADAL" clId="{C4A21C12-107D-40B1-A277-953C3871C887}" dt="2023-08-14T17:02:23.706" v="460" actId="931"/>
          <ac:spMkLst>
            <pc:docMk/>
            <pc:sldMk cId="3040046042" sldId="3200"/>
            <ac:spMk id="9" creationId="{47C77E97-4787-D124-9CED-A877BD001C29}"/>
          </ac:spMkLst>
        </pc:spChg>
        <pc:spChg chg="add del mod">
          <ac:chgData name="Shelley Earl" userId="4951d46f-b647-4b3c-b822-5808962dcca8" providerId="ADAL" clId="{C4A21C12-107D-40B1-A277-953C3871C887}" dt="2023-08-14T17:01:27.051" v="451" actId="931"/>
          <ac:spMkLst>
            <pc:docMk/>
            <pc:sldMk cId="3040046042" sldId="3200"/>
            <ac:spMk id="11" creationId="{ADA80F2A-2235-5487-B9F2-D59B2BBB3F58}"/>
          </ac:spMkLst>
        </pc:spChg>
        <pc:graphicFrameChg chg="add mod">
          <ac:chgData name="Shelley Earl" userId="4951d46f-b647-4b3c-b822-5808962dcca8" providerId="ADAL" clId="{C4A21C12-107D-40B1-A277-953C3871C887}" dt="2023-08-15T13:19:59.795" v="693" actId="1076"/>
          <ac:graphicFrameMkLst>
            <pc:docMk/>
            <pc:sldMk cId="3040046042" sldId="3200"/>
            <ac:graphicFrameMk id="7" creationId="{3277A869-84E7-8020-F799-D21E8D54275F}"/>
          </ac:graphicFrameMkLst>
        </pc:graphicFrameChg>
        <pc:picChg chg="add del mod">
          <ac:chgData name="Shelley Earl" userId="4951d46f-b647-4b3c-b822-5808962dcca8" providerId="ADAL" clId="{C4A21C12-107D-40B1-A277-953C3871C887}" dt="2023-08-14T17:02:08.412" v="459" actId="478"/>
          <ac:picMkLst>
            <pc:docMk/>
            <pc:sldMk cId="3040046042" sldId="3200"/>
            <ac:picMk id="6" creationId="{97ADD520-9EEC-18A4-5F0E-CD22207E3F80}"/>
          </ac:picMkLst>
        </pc:picChg>
        <pc:picChg chg="add mod">
          <ac:chgData name="Shelley Earl" userId="4951d46f-b647-4b3c-b822-5808962dcca8" providerId="ADAL" clId="{C4A21C12-107D-40B1-A277-953C3871C887}" dt="2023-08-14T17:02:25.047" v="462" actId="962"/>
          <ac:picMkLst>
            <pc:docMk/>
            <pc:sldMk cId="3040046042" sldId="3200"/>
            <ac:picMk id="12" creationId="{3E8B5AA1-FEA3-B155-B89B-123E5BF3167B}"/>
          </ac:picMkLst>
        </pc:picChg>
      </pc:sldChg>
      <pc:sldChg chg="modSp mod">
        <pc:chgData name="Shelley Earl" userId="4951d46f-b647-4b3c-b822-5808962dcca8" providerId="ADAL" clId="{C4A21C12-107D-40B1-A277-953C3871C887}" dt="2023-08-14T17:03:21.770" v="468" actId="1076"/>
        <pc:sldMkLst>
          <pc:docMk/>
          <pc:sldMk cId="831651047" sldId="3201"/>
        </pc:sldMkLst>
        <pc:spChg chg="mod">
          <ac:chgData name="Shelley Earl" userId="4951d46f-b647-4b3c-b822-5808962dcca8" providerId="ADAL" clId="{C4A21C12-107D-40B1-A277-953C3871C887}" dt="2023-08-14T17:03:11.437" v="466" actId="255"/>
          <ac:spMkLst>
            <pc:docMk/>
            <pc:sldMk cId="831651047" sldId="3201"/>
            <ac:spMk id="2" creationId="{AC8CD9EB-EEFC-5174-6730-47999618FD31}"/>
          </ac:spMkLst>
        </pc:spChg>
        <pc:spChg chg="mod">
          <ac:chgData name="Shelley Earl" userId="4951d46f-b647-4b3c-b822-5808962dcca8" providerId="ADAL" clId="{C4A21C12-107D-40B1-A277-953C3871C887}" dt="2023-08-14T17:03:21.770" v="468" actId="1076"/>
          <ac:spMkLst>
            <pc:docMk/>
            <pc:sldMk cId="831651047" sldId="3201"/>
            <ac:spMk id="3" creationId="{9FECB5C6-5D7A-A5C8-83AD-E99363F963F7}"/>
          </ac:spMkLst>
        </pc:spChg>
      </pc:sldChg>
      <pc:sldChg chg="modSp mod">
        <pc:chgData name="Shelley Earl" userId="4951d46f-b647-4b3c-b822-5808962dcca8" providerId="ADAL" clId="{C4A21C12-107D-40B1-A277-953C3871C887}" dt="2023-08-14T17:03:42.631" v="472" actId="255"/>
        <pc:sldMkLst>
          <pc:docMk/>
          <pc:sldMk cId="3588830937" sldId="3202"/>
        </pc:sldMkLst>
        <pc:spChg chg="mod">
          <ac:chgData name="Shelley Earl" userId="4951d46f-b647-4b3c-b822-5808962dcca8" providerId="ADAL" clId="{C4A21C12-107D-40B1-A277-953C3871C887}" dt="2023-08-14T17:03:42.631" v="472" actId="255"/>
          <ac:spMkLst>
            <pc:docMk/>
            <pc:sldMk cId="3588830937" sldId="3202"/>
            <ac:spMk id="2" creationId="{AC8CD9EB-EEFC-5174-6730-47999618FD31}"/>
          </ac:spMkLst>
        </pc:spChg>
        <pc:spChg chg="mod">
          <ac:chgData name="Shelley Earl" userId="4951d46f-b647-4b3c-b822-5808962dcca8" providerId="ADAL" clId="{C4A21C12-107D-40B1-A277-953C3871C887}" dt="2023-08-14T17:03:34.109" v="470" actId="20577"/>
          <ac:spMkLst>
            <pc:docMk/>
            <pc:sldMk cId="3588830937" sldId="3202"/>
            <ac:spMk id="3" creationId="{9FECB5C6-5D7A-A5C8-83AD-E99363F963F7}"/>
          </ac:spMkLst>
        </pc:spChg>
        <pc:picChg chg="mod">
          <ac:chgData name="Shelley Earl" userId="4951d46f-b647-4b3c-b822-5808962dcca8" providerId="ADAL" clId="{C4A21C12-107D-40B1-A277-953C3871C887}" dt="2023-08-14T17:03:37.199" v="471" actId="1076"/>
          <ac:picMkLst>
            <pc:docMk/>
            <pc:sldMk cId="3588830937" sldId="3202"/>
            <ac:picMk id="4" creationId="{4EA06AD8-1CF1-328A-030D-1668D259DAAD}"/>
          </ac:picMkLst>
        </pc:picChg>
      </pc:sldChg>
      <pc:sldChg chg="modSp mod">
        <pc:chgData name="Shelley Earl" userId="4951d46f-b647-4b3c-b822-5808962dcca8" providerId="ADAL" clId="{C4A21C12-107D-40B1-A277-953C3871C887}" dt="2023-08-14T17:04:14.092" v="479" actId="1076"/>
        <pc:sldMkLst>
          <pc:docMk/>
          <pc:sldMk cId="1785414279" sldId="3203"/>
        </pc:sldMkLst>
        <pc:spChg chg="mod">
          <ac:chgData name="Shelley Earl" userId="4951d46f-b647-4b3c-b822-5808962dcca8" providerId="ADAL" clId="{C4A21C12-107D-40B1-A277-953C3871C887}" dt="2023-08-14T17:04:01.362" v="477" actId="1076"/>
          <ac:spMkLst>
            <pc:docMk/>
            <pc:sldMk cId="1785414279" sldId="3203"/>
            <ac:spMk id="2" creationId="{AC8CD9EB-EEFC-5174-6730-47999618FD31}"/>
          </ac:spMkLst>
        </pc:spChg>
        <pc:spChg chg="mod">
          <ac:chgData name="Shelley Earl" userId="4951d46f-b647-4b3c-b822-5808962dcca8" providerId="ADAL" clId="{C4A21C12-107D-40B1-A277-953C3871C887}" dt="2023-08-14T17:04:10.593" v="478" actId="255"/>
          <ac:spMkLst>
            <pc:docMk/>
            <pc:sldMk cId="1785414279" sldId="3203"/>
            <ac:spMk id="3" creationId="{9FECB5C6-5D7A-A5C8-83AD-E99363F963F7}"/>
          </ac:spMkLst>
        </pc:spChg>
        <pc:picChg chg="mod">
          <ac:chgData name="Shelley Earl" userId="4951d46f-b647-4b3c-b822-5808962dcca8" providerId="ADAL" clId="{C4A21C12-107D-40B1-A277-953C3871C887}" dt="2023-08-14T17:04:14.092" v="479" actId="1076"/>
          <ac:picMkLst>
            <pc:docMk/>
            <pc:sldMk cId="1785414279" sldId="3203"/>
            <ac:picMk id="6" creationId="{CDF3DC73-F688-EE30-0527-DFEB4EB459AE}"/>
          </ac:picMkLst>
        </pc:picChg>
      </pc:sldChg>
      <pc:sldChg chg="addSp delSp modSp mod">
        <pc:chgData name="Shelley Earl" userId="4951d46f-b647-4b3c-b822-5808962dcca8" providerId="ADAL" clId="{C4A21C12-107D-40B1-A277-953C3871C887}" dt="2023-08-14T17:04:30.707" v="481" actId="26606"/>
        <pc:sldMkLst>
          <pc:docMk/>
          <pc:sldMk cId="3472392565" sldId="3204"/>
        </pc:sldMkLst>
        <pc:spChg chg="mod">
          <ac:chgData name="Shelley Earl" userId="4951d46f-b647-4b3c-b822-5808962dcca8" providerId="ADAL" clId="{C4A21C12-107D-40B1-A277-953C3871C887}" dt="2023-08-14T17:04:30.707" v="481" actId="26606"/>
          <ac:spMkLst>
            <pc:docMk/>
            <pc:sldMk cId="3472392565" sldId="3204"/>
            <ac:spMk id="2" creationId="{AC8CD9EB-EEFC-5174-6730-47999618FD31}"/>
          </ac:spMkLst>
        </pc:spChg>
        <pc:spChg chg="del mod">
          <ac:chgData name="Shelley Earl" userId="4951d46f-b647-4b3c-b822-5808962dcca8" providerId="ADAL" clId="{C4A21C12-107D-40B1-A277-953C3871C887}" dt="2023-08-14T17:04:30.707" v="481" actId="26606"/>
          <ac:spMkLst>
            <pc:docMk/>
            <pc:sldMk cId="3472392565" sldId="3204"/>
            <ac:spMk id="3" creationId="{9FECB5C6-5D7A-A5C8-83AD-E99363F963F7}"/>
          </ac:spMkLst>
        </pc:spChg>
        <pc:spChg chg="mod">
          <ac:chgData name="Shelley Earl" userId="4951d46f-b647-4b3c-b822-5808962dcca8" providerId="ADAL" clId="{C4A21C12-107D-40B1-A277-953C3871C887}" dt="2023-08-14T17:04:30.707" v="481" actId="26606"/>
          <ac:spMkLst>
            <pc:docMk/>
            <pc:sldMk cId="3472392565" sldId="3204"/>
            <ac:spMk id="5" creationId="{D38F08CA-6F10-E41E-B196-1B7057928E54}"/>
          </ac:spMkLst>
        </pc:spChg>
        <pc:spChg chg="add">
          <ac:chgData name="Shelley Earl" userId="4951d46f-b647-4b3c-b822-5808962dcca8" providerId="ADAL" clId="{C4A21C12-107D-40B1-A277-953C3871C887}" dt="2023-08-14T17:04:30.707" v="481" actId="26606"/>
          <ac:spMkLst>
            <pc:docMk/>
            <pc:sldMk cId="3472392565" sldId="3204"/>
            <ac:spMk id="11" creationId="{4F798565-01FD-8CEF-AB64-573295133F81}"/>
          </ac:spMkLst>
        </pc:spChg>
        <pc:graphicFrameChg chg="add">
          <ac:chgData name="Shelley Earl" userId="4951d46f-b647-4b3c-b822-5808962dcca8" providerId="ADAL" clId="{C4A21C12-107D-40B1-A277-953C3871C887}" dt="2023-08-14T17:04:30.707" v="481" actId="26606"/>
          <ac:graphicFrameMkLst>
            <pc:docMk/>
            <pc:sldMk cId="3472392565" sldId="3204"/>
            <ac:graphicFrameMk id="7" creationId="{6E588EDF-5E95-1C38-2519-86033C8F0341}"/>
          </ac:graphicFrameMkLst>
        </pc:graphicFrameChg>
      </pc:sldChg>
      <pc:sldChg chg="modSp mod">
        <pc:chgData name="Shelley Earl" userId="4951d46f-b647-4b3c-b822-5808962dcca8" providerId="ADAL" clId="{C4A21C12-107D-40B1-A277-953C3871C887}" dt="2023-08-14T17:05:30.111" v="484" actId="1076"/>
        <pc:sldMkLst>
          <pc:docMk/>
          <pc:sldMk cId="1474150901" sldId="3205"/>
        </pc:sldMkLst>
        <pc:spChg chg="mod">
          <ac:chgData name="Shelley Earl" userId="4951d46f-b647-4b3c-b822-5808962dcca8" providerId="ADAL" clId="{C4A21C12-107D-40B1-A277-953C3871C887}" dt="2023-08-14T17:05:22.517" v="482" actId="255"/>
          <ac:spMkLst>
            <pc:docMk/>
            <pc:sldMk cId="1474150901" sldId="3205"/>
            <ac:spMk id="2" creationId="{AC8CD9EB-EEFC-5174-6730-47999618FD31}"/>
          </ac:spMkLst>
        </pc:spChg>
        <pc:spChg chg="mod">
          <ac:chgData name="Shelley Earl" userId="4951d46f-b647-4b3c-b822-5808962dcca8" providerId="ADAL" clId="{C4A21C12-107D-40B1-A277-953C3871C887}" dt="2023-08-14T17:05:30.111" v="484" actId="1076"/>
          <ac:spMkLst>
            <pc:docMk/>
            <pc:sldMk cId="1474150901" sldId="3205"/>
            <ac:spMk id="3" creationId="{9FECB5C6-5D7A-A5C8-83AD-E99363F963F7}"/>
          </ac:spMkLst>
        </pc:spChg>
      </pc:sldChg>
      <pc:sldChg chg="modSp mod">
        <pc:chgData name="Shelley Earl" userId="4951d46f-b647-4b3c-b822-5808962dcca8" providerId="ADAL" clId="{C4A21C12-107D-40B1-A277-953C3871C887}" dt="2023-08-15T13:21:14.627" v="694" actId="1076"/>
        <pc:sldMkLst>
          <pc:docMk/>
          <pc:sldMk cId="1627894083" sldId="3206"/>
        </pc:sldMkLst>
        <pc:spChg chg="mod">
          <ac:chgData name="Shelley Earl" userId="4951d46f-b647-4b3c-b822-5808962dcca8" providerId="ADAL" clId="{C4A21C12-107D-40B1-A277-953C3871C887}" dt="2023-08-14T17:09:22.220" v="504" actId="2711"/>
          <ac:spMkLst>
            <pc:docMk/>
            <pc:sldMk cId="1627894083" sldId="3206"/>
            <ac:spMk id="2" creationId="{AC8CD9EB-EEFC-5174-6730-47999618FD31}"/>
          </ac:spMkLst>
        </pc:spChg>
        <pc:spChg chg="mod">
          <ac:chgData name="Shelley Earl" userId="4951d46f-b647-4b3c-b822-5808962dcca8" providerId="ADAL" clId="{C4A21C12-107D-40B1-A277-953C3871C887}" dt="2023-08-15T13:21:14.627" v="694" actId="1076"/>
          <ac:spMkLst>
            <pc:docMk/>
            <pc:sldMk cId="1627894083" sldId="3206"/>
            <ac:spMk id="3" creationId="{9FECB5C6-5D7A-A5C8-83AD-E99363F963F7}"/>
          </ac:spMkLst>
        </pc:spChg>
      </pc:sldChg>
      <pc:sldChg chg="modSp mod">
        <pc:chgData name="Shelley Earl" userId="4951d46f-b647-4b3c-b822-5808962dcca8" providerId="ADAL" clId="{C4A21C12-107D-40B1-A277-953C3871C887}" dt="2023-08-14T17:05:56.841" v="488" actId="255"/>
        <pc:sldMkLst>
          <pc:docMk/>
          <pc:sldMk cId="199393591" sldId="3208"/>
        </pc:sldMkLst>
        <pc:spChg chg="mod">
          <ac:chgData name="Shelley Earl" userId="4951d46f-b647-4b3c-b822-5808962dcca8" providerId="ADAL" clId="{C4A21C12-107D-40B1-A277-953C3871C887}" dt="2023-08-14T17:05:56.841" v="488" actId="255"/>
          <ac:spMkLst>
            <pc:docMk/>
            <pc:sldMk cId="199393591" sldId="3208"/>
            <ac:spMk id="3" creationId="{9FECB5C6-5D7A-A5C8-83AD-E99363F963F7}"/>
          </ac:spMkLst>
        </pc:spChg>
      </pc:sldChg>
      <pc:sldChg chg="modSp mod">
        <pc:chgData name="Shelley Earl" userId="4951d46f-b647-4b3c-b822-5808962dcca8" providerId="ADAL" clId="{C4A21C12-107D-40B1-A277-953C3871C887}" dt="2023-08-14T17:07:23.591" v="493" actId="1076"/>
        <pc:sldMkLst>
          <pc:docMk/>
          <pc:sldMk cId="1501832094" sldId="3211"/>
        </pc:sldMkLst>
        <pc:spChg chg="mod">
          <ac:chgData name="Shelley Earl" userId="4951d46f-b647-4b3c-b822-5808962dcca8" providerId="ADAL" clId="{C4A21C12-107D-40B1-A277-953C3871C887}" dt="2023-08-14T17:07:23.591" v="493" actId="1076"/>
          <ac:spMkLst>
            <pc:docMk/>
            <pc:sldMk cId="1501832094" sldId="3211"/>
            <ac:spMk id="3" creationId="{9FECB5C6-5D7A-A5C8-83AD-E99363F963F7}"/>
          </ac:spMkLst>
        </pc:spChg>
        <pc:picChg chg="mod">
          <ac:chgData name="Shelley Earl" userId="4951d46f-b647-4b3c-b822-5808962dcca8" providerId="ADAL" clId="{C4A21C12-107D-40B1-A277-953C3871C887}" dt="2023-08-14T17:06:59.492" v="490" actId="1076"/>
          <ac:picMkLst>
            <pc:docMk/>
            <pc:sldMk cId="1501832094" sldId="3211"/>
            <ac:picMk id="4" creationId="{8CC6E98C-76BE-924A-1C1D-56F4AA4011FE}"/>
          </ac:picMkLst>
        </pc:picChg>
      </pc:sldChg>
      <pc:sldChg chg="modSp mod">
        <pc:chgData name="Shelley Earl" userId="4951d46f-b647-4b3c-b822-5808962dcca8" providerId="ADAL" clId="{C4A21C12-107D-40B1-A277-953C3871C887}" dt="2023-08-14T17:07:08.479" v="491" actId="255"/>
        <pc:sldMkLst>
          <pc:docMk/>
          <pc:sldMk cId="4274324525" sldId="3212"/>
        </pc:sldMkLst>
        <pc:spChg chg="mod">
          <ac:chgData name="Shelley Earl" userId="4951d46f-b647-4b3c-b822-5808962dcca8" providerId="ADAL" clId="{C4A21C12-107D-40B1-A277-953C3871C887}" dt="2023-08-14T17:07:08.479" v="491" actId="255"/>
          <ac:spMkLst>
            <pc:docMk/>
            <pc:sldMk cId="4274324525" sldId="3212"/>
            <ac:spMk id="3" creationId="{9FECB5C6-5D7A-A5C8-83AD-E99363F963F7}"/>
          </ac:spMkLst>
        </pc:spChg>
      </pc:sldChg>
      <pc:sldChg chg="modSp mod">
        <pc:chgData name="Shelley Earl" userId="4951d46f-b647-4b3c-b822-5808962dcca8" providerId="ADAL" clId="{C4A21C12-107D-40B1-A277-953C3871C887}" dt="2023-08-14T17:07:47.461" v="494" actId="255"/>
        <pc:sldMkLst>
          <pc:docMk/>
          <pc:sldMk cId="1666040809" sldId="3214"/>
        </pc:sldMkLst>
        <pc:spChg chg="mod">
          <ac:chgData name="Shelley Earl" userId="4951d46f-b647-4b3c-b822-5808962dcca8" providerId="ADAL" clId="{C4A21C12-107D-40B1-A277-953C3871C887}" dt="2023-08-14T17:07:47.461" v="494" actId="255"/>
          <ac:spMkLst>
            <pc:docMk/>
            <pc:sldMk cId="1666040809" sldId="3214"/>
            <ac:spMk id="3" creationId="{9FECB5C6-5D7A-A5C8-83AD-E99363F963F7}"/>
          </ac:spMkLst>
        </pc:spChg>
      </pc:sldChg>
      <pc:sldChg chg="modSp mod">
        <pc:chgData name="Shelley Earl" userId="4951d46f-b647-4b3c-b822-5808962dcca8" providerId="ADAL" clId="{C4A21C12-107D-40B1-A277-953C3871C887}" dt="2023-08-14T17:08:08.332" v="497" actId="1076"/>
        <pc:sldMkLst>
          <pc:docMk/>
          <pc:sldMk cId="1466401645" sldId="3215"/>
        </pc:sldMkLst>
        <pc:spChg chg="mod">
          <ac:chgData name="Shelley Earl" userId="4951d46f-b647-4b3c-b822-5808962dcca8" providerId="ADAL" clId="{C4A21C12-107D-40B1-A277-953C3871C887}" dt="2023-08-14T17:08:05.273" v="496" actId="1076"/>
          <ac:spMkLst>
            <pc:docMk/>
            <pc:sldMk cId="1466401645" sldId="3215"/>
            <ac:spMk id="3" creationId="{9FECB5C6-5D7A-A5C8-83AD-E99363F963F7}"/>
          </ac:spMkLst>
        </pc:spChg>
        <pc:picChg chg="mod">
          <ac:chgData name="Shelley Earl" userId="4951d46f-b647-4b3c-b822-5808962dcca8" providerId="ADAL" clId="{C4A21C12-107D-40B1-A277-953C3871C887}" dt="2023-08-14T17:08:08.332" v="497" actId="1076"/>
          <ac:picMkLst>
            <pc:docMk/>
            <pc:sldMk cId="1466401645" sldId="3215"/>
            <ac:picMk id="4" creationId="{0C019B0B-58E3-274D-F76D-0830948E6252}"/>
          </ac:picMkLst>
        </pc:picChg>
      </pc:sldChg>
      <pc:sldChg chg="modSp mod">
        <pc:chgData name="Shelley Earl" userId="4951d46f-b647-4b3c-b822-5808962dcca8" providerId="ADAL" clId="{C4A21C12-107D-40B1-A277-953C3871C887}" dt="2023-08-14T17:08:31.106" v="498" actId="255"/>
        <pc:sldMkLst>
          <pc:docMk/>
          <pc:sldMk cId="2750657427" sldId="3216"/>
        </pc:sldMkLst>
        <pc:spChg chg="mod">
          <ac:chgData name="Shelley Earl" userId="4951d46f-b647-4b3c-b822-5808962dcca8" providerId="ADAL" clId="{C4A21C12-107D-40B1-A277-953C3871C887}" dt="2023-08-14T17:08:31.106" v="498" actId="255"/>
          <ac:spMkLst>
            <pc:docMk/>
            <pc:sldMk cId="2750657427" sldId="3216"/>
            <ac:spMk id="3" creationId="{9FECB5C6-5D7A-A5C8-83AD-E99363F963F7}"/>
          </ac:spMkLst>
        </pc:spChg>
      </pc:sldChg>
      <pc:sldChg chg="modSp mod">
        <pc:chgData name="Shelley Earl" userId="4951d46f-b647-4b3c-b822-5808962dcca8" providerId="ADAL" clId="{C4A21C12-107D-40B1-A277-953C3871C887}" dt="2023-08-14T17:08:52.484" v="501" actId="1076"/>
        <pc:sldMkLst>
          <pc:docMk/>
          <pc:sldMk cId="447830913" sldId="3217"/>
        </pc:sldMkLst>
        <pc:spChg chg="mod">
          <ac:chgData name="Shelley Earl" userId="4951d46f-b647-4b3c-b822-5808962dcca8" providerId="ADAL" clId="{C4A21C12-107D-40B1-A277-953C3871C887}" dt="2023-08-14T17:08:50.836" v="500" actId="1076"/>
          <ac:spMkLst>
            <pc:docMk/>
            <pc:sldMk cId="447830913" sldId="3217"/>
            <ac:spMk id="3" creationId="{9FECB5C6-5D7A-A5C8-83AD-E99363F963F7}"/>
          </ac:spMkLst>
        </pc:spChg>
        <pc:picChg chg="mod">
          <ac:chgData name="Shelley Earl" userId="4951d46f-b647-4b3c-b822-5808962dcca8" providerId="ADAL" clId="{C4A21C12-107D-40B1-A277-953C3871C887}" dt="2023-08-14T17:08:52.484" v="501" actId="1076"/>
          <ac:picMkLst>
            <pc:docMk/>
            <pc:sldMk cId="447830913" sldId="3217"/>
            <ac:picMk id="4" creationId="{2DCB9D3A-3E07-605E-96EC-63EB698BB30F}"/>
          </ac:picMkLst>
        </pc:picChg>
      </pc:sldChg>
      <pc:sldChg chg="modSp mod">
        <pc:chgData name="Shelley Earl" userId="4951d46f-b647-4b3c-b822-5808962dcca8" providerId="ADAL" clId="{C4A21C12-107D-40B1-A277-953C3871C887}" dt="2023-08-15T13:24:11.303" v="698" actId="122"/>
        <pc:sldMkLst>
          <pc:docMk/>
          <pc:sldMk cId="28025480" sldId="3218"/>
        </pc:sldMkLst>
        <pc:spChg chg="mod">
          <ac:chgData name="Shelley Earl" userId="4951d46f-b647-4b3c-b822-5808962dcca8" providerId="ADAL" clId="{C4A21C12-107D-40B1-A277-953C3871C887}" dt="2023-08-15T13:24:11.303" v="698" actId="122"/>
          <ac:spMkLst>
            <pc:docMk/>
            <pc:sldMk cId="28025480" sldId="3218"/>
            <ac:spMk id="3" creationId="{00000000-0000-0000-0000-000000000000}"/>
          </ac:spMkLst>
        </pc:spChg>
        <pc:spChg chg="mod">
          <ac:chgData name="Shelley Earl" userId="4951d46f-b647-4b3c-b822-5808962dcca8" providerId="ADAL" clId="{C4A21C12-107D-40B1-A277-953C3871C887}" dt="2023-08-15T13:24:08.527" v="697" actId="1076"/>
          <ac:spMkLst>
            <pc:docMk/>
            <pc:sldMk cId="28025480" sldId="3218"/>
            <ac:spMk id="12" creationId="{CD1A6E58-379A-954B-8D70-B060637170A2}"/>
          </ac:spMkLst>
        </pc:spChg>
      </pc:sldChg>
      <pc:sldChg chg="modSp mod">
        <pc:chgData name="Shelley Earl" userId="4951d46f-b647-4b3c-b822-5808962dcca8" providerId="ADAL" clId="{C4A21C12-107D-40B1-A277-953C3871C887}" dt="2023-08-14T15:20:23.087" v="40" actId="1076"/>
        <pc:sldMkLst>
          <pc:docMk/>
          <pc:sldMk cId="1272483678" sldId="3219"/>
        </pc:sldMkLst>
        <pc:picChg chg="mod">
          <ac:chgData name="Shelley Earl" userId="4951d46f-b647-4b3c-b822-5808962dcca8" providerId="ADAL" clId="{C4A21C12-107D-40B1-A277-953C3871C887}" dt="2023-08-14T15:20:23.087" v="40" actId="1076"/>
          <ac:picMkLst>
            <pc:docMk/>
            <pc:sldMk cId="1272483678" sldId="3219"/>
            <ac:picMk id="6" creationId="{420A6B06-E696-93BB-8330-C73FCCC47F4A}"/>
          </ac:picMkLst>
        </pc:picChg>
      </pc:sldChg>
      <pc:sldChg chg="addSp delSp modSp mod modClrScheme chgLayout">
        <pc:chgData name="Shelley Earl" userId="4951d46f-b647-4b3c-b822-5808962dcca8" providerId="ADAL" clId="{C4A21C12-107D-40B1-A277-953C3871C887}" dt="2023-08-15T13:08:12.613" v="673" actId="1076"/>
        <pc:sldMkLst>
          <pc:docMk/>
          <pc:sldMk cId="910612384" sldId="3220"/>
        </pc:sldMkLst>
        <pc:spChg chg="mod">
          <ac:chgData name="Shelley Earl" userId="4951d46f-b647-4b3c-b822-5808962dcca8" providerId="ADAL" clId="{C4A21C12-107D-40B1-A277-953C3871C887}" dt="2023-08-14T15:47:31.777" v="219" actId="26606"/>
          <ac:spMkLst>
            <pc:docMk/>
            <pc:sldMk cId="910612384" sldId="3220"/>
            <ac:spMk id="2" creationId="{C72C046B-748F-2966-8D33-704DBECE45E3}"/>
          </ac:spMkLst>
        </pc:spChg>
        <pc:spChg chg="mod">
          <ac:chgData name="Shelley Earl" userId="4951d46f-b647-4b3c-b822-5808962dcca8" providerId="ADAL" clId="{C4A21C12-107D-40B1-A277-953C3871C887}" dt="2023-08-15T13:08:12.613" v="673" actId="1076"/>
          <ac:spMkLst>
            <pc:docMk/>
            <pc:sldMk cId="910612384" sldId="3220"/>
            <ac:spMk id="3" creationId="{1FCB5CA6-DE9D-8ED8-1E63-5A2D9238C6B5}"/>
          </ac:spMkLst>
        </pc:spChg>
        <pc:spChg chg="mod modVis">
          <ac:chgData name="Shelley Earl" userId="4951d46f-b647-4b3c-b822-5808962dcca8" providerId="ADAL" clId="{C4A21C12-107D-40B1-A277-953C3871C887}" dt="2023-08-14T15:47:31.777" v="219" actId="26606"/>
          <ac:spMkLst>
            <pc:docMk/>
            <pc:sldMk cId="910612384" sldId="3220"/>
            <ac:spMk id="5" creationId="{DE7A581A-9DA4-16D5-BC74-921893A4CA59}"/>
          </ac:spMkLst>
        </pc:spChg>
        <pc:spChg chg="add del mod">
          <ac:chgData name="Shelley Earl" userId="4951d46f-b647-4b3c-b822-5808962dcca8" providerId="ADAL" clId="{C4A21C12-107D-40B1-A277-953C3871C887}" dt="2023-08-14T15:51:22.997" v="223" actId="931"/>
          <ac:spMkLst>
            <pc:docMk/>
            <pc:sldMk cId="910612384" sldId="3220"/>
            <ac:spMk id="10" creationId="{317A896E-C554-2827-D896-B9483412B515}"/>
          </ac:spMkLst>
        </pc:spChg>
        <pc:picChg chg="add mod">
          <ac:chgData name="Shelley Earl" userId="4951d46f-b647-4b3c-b822-5808962dcca8" providerId="ADAL" clId="{C4A21C12-107D-40B1-A277-953C3871C887}" dt="2023-08-14T15:51:24.777" v="225" actId="962"/>
          <ac:picMkLst>
            <pc:docMk/>
            <pc:sldMk cId="910612384" sldId="3220"/>
            <ac:picMk id="6" creationId="{A8F922C1-A2E9-6663-111D-51E9FD965692}"/>
          </ac:picMkLst>
        </pc:picChg>
      </pc:sldChg>
      <pc:sldChg chg="modSp mod">
        <pc:chgData name="Shelley Earl" userId="4951d46f-b647-4b3c-b822-5808962dcca8" providerId="ADAL" clId="{C4A21C12-107D-40B1-A277-953C3871C887}" dt="2023-08-15T13:14:35.952" v="688" actId="1076"/>
        <pc:sldMkLst>
          <pc:docMk/>
          <pc:sldMk cId="1378356170" sldId="3221"/>
        </pc:sldMkLst>
        <pc:spChg chg="mod">
          <ac:chgData name="Shelley Earl" userId="4951d46f-b647-4b3c-b822-5808962dcca8" providerId="ADAL" clId="{C4A21C12-107D-40B1-A277-953C3871C887}" dt="2023-08-14T16:54:20.273" v="360" actId="255"/>
          <ac:spMkLst>
            <pc:docMk/>
            <pc:sldMk cId="1378356170" sldId="3221"/>
            <ac:spMk id="2" creationId="{B83F9F2C-98A9-03B3-3B8B-468EAE0D586B}"/>
          </ac:spMkLst>
        </pc:spChg>
        <pc:spChg chg="mod">
          <ac:chgData name="Shelley Earl" userId="4951d46f-b647-4b3c-b822-5808962dcca8" providerId="ADAL" clId="{C4A21C12-107D-40B1-A277-953C3871C887}" dt="2023-08-15T13:14:35.952" v="688" actId="1076"/>
          <ac:spMkLst>
            <pc:docMk/>
            <pc:sldMk cId="1378356170" sldId="3221"/>
            <ac:spMk id="3" creationId="{52A81DBC-972E-15E5-E1B8-5D8C2FF0A0CD}"/>
          </ac:spMkLst>
        </pc:spChg>
      </pc:sldChg>
      <pc:sldChg chg="modSp mod">
        <pc:chgData name="Shelley Earl" userId="4951d46f-b647-4b3c-b822-5808962dcca8" providerId="ADAL" clId="{C4A21C12-107D-40B1-A277-953C3871C887}" dt="2023-08-14T17:03:00.382" v="465" actId="255"/>
        <pc:sldMkLst>
          <pc:docMk/>
          <pc:sldMk cId="2004496459" sldId="3222"/>
        </pc:sldMkLst>
        <pc:spChg chg="mod">
          <ac:chgData name="Shelley Earl" userId="4951d46f-b647-4b3c-b822-5808962dcca8" providerId="ADAL" clId="{C4A21C12-107D-40B1-A277-953C3871C887}" dt="2023-08-14T17:02:54.331" v="464" actId="255"/>
          <ac:spMkLst>
            <pc:docMk/>
            <pc:sldMk cId="2004496459" sldId="3222"/>
            <ac:spMk id="2" creationId="{AC8CD9EB-EEFC-5174-6730-47999618FD31}"/>
          </ac:spMkLst>
        </pc:spChg>
        <pc:spChg chg="mod">
          <ac:chgData name="Shelley Earl" userId="4951d46f-b647-4b3c-b822-5808962dcca8" providerId="ADAL" clId="{C4A21C12-107D-40B1-A277-953C3871C887}" dt="2023-08-14T17:03:00.382" v="465" actId="255"/>
          <ac:spMkLst>
            <pc:docMk/>
            <pc:sldMk cId="2004496459" sldId="3222"/>
            <ac:spMk id="3" creationId="{9FECB5C6-5D7A-A5C8-83AD-E99363F963F7}"/>
          </ac:spMkLst>
        </pc:spChg>
      </pc:sldChg>
      <pc:sldChg chg="add">
        <pc:chgData name="Shelley Earl" userId="4951d46f-b647-4b3c-b822-5808962dcca8" providerId="ADAL" clId="{C4A21C12-107D-40B1-A277-953C3871C887}" dt="2023-08-14T16:43:52.756" v="277" actId="2890"/>
        <pc:sldMkLst>
          <pc:docMk/>
          <pc:sldMk cId="592238315" sldId="3223"/>
        </pc:sldMkLst>
      </pc:sldChg>
      <pc:sldChg chg="add">
        <pc:chgData name="Shelley Earl" userId="4951d46f-b647-4b3c-b822-5808962dcca8" providerId="ADAL" clId="{C4A21C12-107D-40B1-A277-953C3871C887}" dt="2023-08-14T17:12:23.919" v="505"/>
        <pc:sldMkLst>
          <pc:docMk/>
          <pc:sldMk cId="1834208117" sldId="3224"/>
        </pc:sldMkLst>
      </pc:sldChg>
    </pc:docChg>
  </pc:docChgLst>
</pc:chgInfo>
</file>

<file path=ppt/diagrams/_rels/data12.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899C3D-101F-4FC2-84A5-3B7D8D89AF3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5B2D125-BE09-44A9-96C8-7560EE4E4906}">
      <dgm:prSet/>
      <dgm:spPr/>
      <dgm:t>
        <a:bodyPr/>
        <a:lstStyle/>
        <a:p>
          <a:r>
            <a:rPr lang="en-US"/>
            <a:t>Form of discrimination with specific laws </a:t>
          </a:r>
        </a:p>
      </dgm:t>
    </dgm:pt>
    <dgm:pt modelId="{46AA8983-316B-450A-B314-2B01EC36283E}" type="parTrans" cxnId="{7C7B66A2-78A9-4AF2-9545-AC732AFACC11}">
      <dgm:prSet/>
      <dgm:spPr/>
      <dgm:t>
        <a:bodyPr/>
        <a:lstStyle/>
        <a:p>
          <a:endParaRPr lang="en-US"/>
        </a:p>
      </dgm:t>
    </dgm:pt>
    <dgm:pt modelId="{F1D2BE31-D390-43B6-94BD-E29F153B1AAC}" type="sibTrans" cxnId="{7C7B66A2-78A9-4AF2-9545-AC732AFACC11}">
      <dgm:prSet/>
      <dgm:spPr/>
      <dgm:t>
        <a:bodyPr/>
        <a:lstStyle/>
        <a:p>
          <a:endParaRPr lang="en-US"/>
        </a:p>
      </dgm:t>
    </dgm:pt>
    <dgm:pt modelId="{E1809F50-EE8F-4D1A-9170-F5C7A2F63439}">
      <dgm:prSet/>
      <dgm:spPr/>
      <dgm:t>
        <a:bodyPr/>
        <a:lstStyle/>
        <a:p>
          <a:r>
            <a:rPr lang="en-US"/>
            <a:t>Major form of harassment </a:t>
          </a:r>
        </a:p>
      </dgm:t>
    </dgm:pt>
    <dgm:pt modelId="{A3FF137C-931D-4FCB-9668-FB1C558C84E4}" type="parTrans" cxnId="{30A66CEB-6EBC-41D4-B835-9ED29D347508}">
      <dgm:prSet/>
      <dgm:spPr/>
      <dgm:t>
        <a:bodyPr/>
        <a:lstStyle/>
        <a:p>
          <a:endParaRPr lang="en-US"/>
        </a:p>
      </dgm:t>
    </dgm:pt>
    <dgm:pt modelId="{1A8A7370-7F81-4DF5-B300-BDA5F404C659}" type="sibTrans" cxnId="{30A66CEB-6EBC-41D4-B835-9ED29D347508}">
      <dgm:prSet/>
      <dgm:spPr/>
      <dgm:t>
        <a:bodyPr/>
        <a:lstStyle/>
        <a:p>
          <a:endParaRPr lang="en-US"/>
        </a:p>
      </dgm:t>
    </dgm:pt>
    <dgm:pt modelId="{B7C04735-7DF0-41FE-A7B1-52FBAEEFE3DC}">
      <dgm:prSet/>
      <dgm:spPr/>
      <dgm:t>
        <a:bodyPr/>
        <a:lstStyle/>
        <a:p>
          <a:r>
            <a:rPr lang="en-US"/>
            <a:t>Significant proportion of discrimination complaints in society </a:t>
          </a:r>
        </a:p>
      </dgm:t>
    </dgm:pt>
    <dgm:pt modelId="{79DFD214-1014-46E5-B503-5A310D05CDE9}" type="parTrans" cxnId="{4195D599-0EDF-4735-B923-6796D4EEF3AB}">
      <dgm:prSet/>
      <dgm:spPr/>
      <dgm:t>
        <a:bodyPr/>
        <a:lstStyle/>
        <a:p>
          <a:endParaRPr lang="en-US"/>
        </a:p>
      </dgm:t>
    </dgm:pt>
    <dgm:pt modelId="{50BA474B-C7E4-4460-9167-5BCD41E59895}" type="sibTrans" cxnId="{4195D599-0EDF-4735-B923-6796D4EEF3AB}">
      <dgm:prSet/>
      <dgm:spPr/>
      <dgm:t>
        <a:bodyPr/>
        <a:lstStyle/>
        <a:p>
          <a:endParaRPr lang="en-US"/>
        </a:p>
      </dgm:t>
    </dgm:pt>
    <dgm:pt modelId="{47ABDF79-E238-4510-8CB2-C3738C0F6C88}">
      <dgm:prSet/>
      <dgm:spPr/>
      <dgm:t>
        <a:bodyPr/>
        <a:lstStyle/>
        <a:p>
          <a:r>
            <a:rPr lang="en-US"/>
            <a:t>State-specific requirements for training </a:t>
          </a:r>
        </a:p>
      </dgm:t>
    </dgm:pt>
    <dgm:pt modelId="{4824623B-67EE-487D-9E75-A4DF68F41014}" type="parTrans" cxnId="{9BAD3CF6-F432-4A36-920C-E6B08CF3F5F2}">
      <dgm:prSet/>
      <dgm:spPr/>
      <dgm:t>
        <a:bodyPr/>
        <a:lstStyle/>
        <a:p>
          <a:endParaRPr lang="en-US"/>
        </a:p>
      </dgm:t>
    </dgm:pt>
    <dgm:pt modelId="{A68675EA-5C82-4B2E-87F9-BFBF7B6C9820}" type="sibTrans" cxnId="{9BAD3CF6-F432-4A36-920C-E6B08CF3F5F2}">
      <dgm:prSet/>
      <dgm:spPr/>
      <dgm:t>
        <a:bodyPr/>
        <a:lstStyle/>
        <a:p>
          <a:endParaRPr lang="en-US"/>
        </a:p>
      </dgm:t>
    </dgm:pt>
    <dgm:pt modelId="{00CDFFDD-1962-4497-A1C3-02602B4CF695}">
      <dgm:prSet/>
      <dgm:spPr/>
      <dgm:t>
        <a:bodyPr/>
        <a:lstStyle/>
        <a:p>
          <a:r>
            <a:rPr lang="en-US"/>
            <a:t>Same rules and skillsets apply to harassment based on other protected categories</a:t>
          </a:r>
        </a:p>
      </dgm:t>
    </dgm:pt>
    <dgm:pt modelId="{B6146CAD-CA83-4D1B-813C-E60BE9259C0D}" type="parTrans" cxnId="{6D744CD9-1587-4DA3-8DE7-A6C0281311A6}">
      <dgm:prSet/>
      <dgm:spPr/>
      <dgm:t>
        <a:bodyPr/>
        <a:lstStyle/>
        <a:p>
          <a:endParaRPr lang="en-US"/>
        </a:p>
      </dgm:t>
    </dgm:pt>
    <dgm:pt modelId="{E7A275FF-F908-4BFE-B293-0A91F83770C0}" type="sibTrans" cxnId="{6D744CD9-1587-4DA3-8DE7-A6C0281311A6}">
      <dgm:prSet/>
      <dgm:spPr/>
      <dgm:t>
        <a:bodyPr/>
        <a:lstStyle/>
        <a:p>
          <a:endParaRPr lang="en-US"/>
        </a:p>
      </dgm:t>
    </dgm:pt>
    <dgm:pt modelId="{CB4074BD-504A-411B-9CF3-5B0D20B5BC5F}" type="pres">
      <dgm:prSet presAssocID="{08899C3D-101F-4FC2-84A5-3B7D8D89AF3C}" presName="linear" presStyleCnt="0">
        <dgm:presLayoutVars>
          <dgm:animLvl val="lvl"/>
          <dgm:resizeHandles val="exact"/>
        </dgm:presLayoutVars>
      </dgm:prSet>
      <dgm:spPr/>
    </dgm:pt>
    <dgm:pt modelId="{EEDA47DE-3FB1-4BE2-B611-F90F7A76C552}" type="pres">
      <dgm:prSet presAssocID="{55B2D125-BE09-44A9-96C8-7560EE4E4906}" presName="parentText" presStyleLbl="node1" presStyleIdx="0" presStyleCnt="5">
        <dgm:presLayoutVars>
          <dgm:chMax val="0"/>
          <dgm:bulletEnabled val="1"/>
        </dgm:presLayoutVars>
      </dgm:prSet>
      <dgm:spPr/>
    </dgm:pt>
    <dgm:pt modelId="{25BF4101-6C4E-43BB-A9EF-D4454C042BCA}" type="pres">
      <dgm:prSet presAssocID="{F1D2BE31-D390-43B6-94BD-E29F153B1AAC}" presName="spacer" presStyleCnt="0"/>
      <dgm:spPr/>
    </dgm:pt>
    <dgm:pt modelId="{A9DADBA9-D020-4537-88ED-5A20F77C4F29}" type="pres">
      <dgm:prSet presAssocID="{E1809F50-EE8F-4D1A-9170-F5C7A2F63439}" presName="parentText" presStyleLbl="node1" presStyleIdx="1" presStyleCnt="5">
        <dgm:presLayoutVars>
          <dgm:chMax val="0"/>
          <dgm:bulletEnabled val="1"/>
        </dgm:presLayoutVars>
      </dgm:prSet>
      <dgm:spPr/>
    </dgm:pt>
    <dgm:pt modelId="{135E2136-476C-4166-A353-124731972891}" type="pres">
      <dgm:prSet presAssocID="{1A8A7370-7F81-4DF5-B300-BDA5F404C659}" presName="spacer" presStyleCnt="0"/>
      <dgm:spPr/>
    </dgm:pt>
    <dgm:pt modelId="{F2496395-24CB-486E-A272-EF6AB2CEC6F8}" type="pres">
      <dgm:prSet presAssocID="{B7C04735-7DF0-41FE-A7B1-52FBAEEFE3DC}" presName="parentText" presStyleLbl="node1" presStyleIdx="2" presStyleCnt="5">
        <dgm:presLayoutVars>
          <dgm:chMax val="0"/>
          <dgm:bulletEnabled val="1"/>
        </dgm:presLayoutVars>
      </dgm:prSet>
      <dgm:spPr/>
    </dgm:pt>
    <dgm:pt modelId="{7B78D843-3F95-4EA5-A79B-87898D4B188B}" type="pres">
      <dgm:prSet presAssocID="{50BA474B-C7E4-4460-9167-5BCD41E59895}" presName="spacer" presStyleCnt="0"/>
      <dgm:spPr/>
    </dgm:pt>
    <dgm:pt modelId="{9ECE8E2A-A096-4579-9455-E9FA1881820A}" type="pres">
      <dgm:prSet presAssocID="{47ABDF79-E238-4510-8CB2-C3738C0F6C88}" presName="parentText" presStyleLbl="node1" presStyleIdx="3" presStyleCnt="5">
        <dgm:presLayoutVars>
          <dgm:chMax val="0"/>
          <dgm:bulletEnabled val="1"/>
        </dgm:presLayoutVars>
      </dgm:prSet>
      <dgm:spPr/>
    </dgm:pt>
    <dgm:pt modelId="{49B855D0-BF33-4A90-8769-8E1B500C518A}" type="pres">
      <dgm:prSet presAssocID="{A68675EA-5C82-4B2E-87F9-BFBF7B6C9820}" presName="spacer" presStyleCnt="0"/>
      <dgm:spPr/>
    </dgm:pt>
    <dgm:pt modelId="{4BBB6E29-C4ED-4367-8758-0965FC1D3302}" type="pres">
      <dgm:prSet presAssocID="{00CDFFDD-1962-4497-A1C3-02602B4CF695}" presName="parentText" presStyleLbl="node1" presStyleIdx="4" presStyleCnt="5">
        <dgm:presLayoutVars>
          <dgm:chMax val="0"/>
          <dgm:bulletEnabled val="1"/>
        </dgm:presLayoutVars>
      </dgm:prSet>
      <dgm:spPr/>
    </dgm:pt>
  </dgm:ptLst>
  <dgm:cxnLst>
    <dgm:cxn modelId="{0F6D1240-8B7D-4733-91BB-4FC185DEB5BA}" type="presOf" srcId="{B7C04735-7DF0-41FE-A7B1-52FBAEEFE3DC}" destId="{F2496395-24CB-486E-A272-EF6AB2CEC6F8}" srcOrd="0" destOrd="0" presId="urn:microsoft.com/office/officeart/2005/8/layout/vList2"/>
    <dgm:cxn modelId="{1838DA5E-C111-4DC0-8AF5-7A26147D56DB}" type="presOf" srcId="{55B2D125-BE09-44A9-96C8-7560EE4E4906}" destId="{EEDA47DE-3FB1-4BE2-B611-F90F7A76C552}" srcOrd="0" destOrd="0" presId="urn:microsoft.com/office/officeart/2005/8/layout/vList2"/>
    <dgm:cxn modelId="{C574EA4C-4CA7-434A-BD17-E0097692DE3D}" type="presOf" srcId="{47ABDF79-E238-4510-8CB2-C3738C0F6C88}" destId="{9ECE8E2A-A096-4579-9455-E9FA1881820A}" srcOrd="0" destOrd="0" presId="urn:microsoft.com/office/officeart/2005/8/layout/vList2"/>
    <dgm:cxn modelId="{4195D599-0EDF-4735-B923-6796D4EEF3AB}" srcId="{08899C3D-101F-4FC2-84A5-3B7D8D89AF3C}" destId="{B7C04735-7DF0-41FE-A7B1-52FBAEEFE3DC}" srcOrd="2" destOrd="0" parTransId="{79DFD214-1014-46E5-B503-5A310D05CDE9}" sibTransId="{50BA474B-C7E4-4460-9167-5BCD41E59895}"/>
    <dgm:cxn modelId="{7C7B66A2-78A9-4AF2-9545-AC732AFACC11}" srcId="{08899C3D-101F-4FC2-84A5-3B7D8D89AF3C}" destId="{55B2D125-BE09-44A9-96C8-7560EE4E4906}" srcOrd="0" destOrd="0" parTransId="{46AA8983-316B-450A-B314-2B01EC36283E}" sibTransId="{F1D2BE31-D390-43B6-94BD-E29F153B1AAC}"/>
    <dgm:cxn modelId="{4BF35AA3-C822-4916-9A20-BCAE6EA019C2}" type="presOf" srcId="{00CDFFDD-1962-4497-A1C3-02602B4CF695}" destId="{4BBB6E29-C4ED-4367-8758-0965FC1D3302}" srcOrd="0" destOrd="0" presId="urn:microsoft.com/office/officeart/2005/8/layout/vList2"/>
    <dgm:cxn modelId="{F1ECE6C9-37E5-44FD-A368-2E2AB5D0F724}" type="presOf" srcId="{E1809F50-EE8F-4D1A-9170-F5C7A2F63439}" destId="{A9DADBA9-D020-4537-88ED-5A20F77C4F29}" srcOrd="0" destOrd="0" presId="urn:microsoft.com/office/officeart/2005/8/layout/vList2"/>
    <dgm:cxn modelId="{6D744CD9-1587-4DA3-8DE7-A6C0281311A6}" srcId="{08899C3D-101F-4FC2-84A5-3B7D8D89AF3C}" destId="{00CDFFDD-1962-4497-A1C3-02602B4CF695}" srcOrd="4" destOrd="0" parTransId="{B6146CAD-CA83-4D1B-813C-E60BE9259C0D}" sibTransId="{E7A275FF-F908-4BFE-B293-0A91F83770C0}"/>
    <dgm:cxn modelId="{30A66CEB-6EBC-41D4-B835-9ED29D347508}" srcId="{08899C3D-101F-4FC2-84A5-3B7D8D89AF3C}" destId="{E1809F50-EE8F-4D1A-9170-F5C7A2F63439}" srcOrd="1" destOrd="0" parTransId="{A3FF137C-931D-4FCB-9668-FB1C558C84E4}" sibTransId="{1A8A7370-7F81-4DF5-B300-BDA5F404C659}"/>
    <dgm:cxn modelId="{9BAD3CF6-F432-4A36-920C-E6B08CF3F5F2}" srcId="{08899C3D-101F-4FC2-84A5-3B7D8D89AF3C}" destId="{47ABDF79-E238-4510-8CB2-C3738C0F6C88}" srcOrd="3" destOrd="0" parTransId="{4824623B-67EE-487D-9E75-A4DF68F41014}" sibTransId="{A68675EA-5C82-4B2E-87F9-BFBF7B6C9820}"/>
    <dgm:cxn modelId="{E4A284FB-8979-4CDC-84C4-442C0D6C7ED4}" type="presOf" srcId="{08899C3D-101F-4FC2-84A5-3B7D8D89AF3C}" destId="{CB4074BD-504A-411B-9CF3-5B0D20B5BC5F}" srcOrd="0" destOrd="0" presId="urn:microsoft.com/office/officeart/2005/8/layout/vList2"/>
    <dgm:cxn modelId="{157D118B-6385-415D-B3F5-A2A4E7C5FE7E}" type="presParOf" srcId="{CB4074BD-504A-411B-9CF3-5B0D20B5BC5F}" destId="{EEDA47DE-3FB1-4BE2-B611-F90F7A76C552}" srcOrd="0" destOrd="0" presId="urn:microsoft.com/office/officeart/2005/8/layout/vList2"/>
    <dgm:cxn modelId="{1BDF2FCF-637C-4DC3-B84E-BE567EAAE9B3}" type="presParOf" srcId="{CB4074BD-504A-411B-9CF3-5B0D20B5BC5F}" destId="{25BF4101-6C4E-43BB-A9EF-D4454C042BCA}" srcOrd="1" destOrd="0" presId="urn:microsoft.com/office/officeart/2005/8/layout/vList2"/>
    <dgm:cxn modelId="{98934F3C-C2D3-43DE-9E22-297F28356A60}" type="presParOf" srcId="{CB4074BD-504A-411B-9CF3-5B0D20B5BC5F}" destId="{A9DADBA9-D020-4537-88ED-5A20F77C4F29}" srcOrd="2" destOrd="0" presId="urn:microsoft.com/office/officeart/2005/8/layout/vList2"/>
    <dgm:cxn modelId="{5410A111-DFF8-4966-B409-7DC558D5C964}" type="presParOf" srcId="{CB4074BD-504A-411B-9CF3-5B0D20B5BC5F}" destId="{135E2136-476C-4166-A353-124731972891}" srcOrd="3" destOrd="0" presId="urn:microsoft.com/office/officeart/2005/8/layout/vList2"/>
    <dgm:cxn modelId="{89610769-FAA4-4888-AFBB-B6C4121B00EE}" type="presParOf" srcId="{CB4074BD-504A-411B-9CF3-5B0D20B5BC5F}" destId="{F2496395-24CB-486E-A272-EF6AB2CEC6F8}" srcOrd="4" destOrd="0" presId="urn:microsoft.com/office/officeart/2005/8/layout/vList2"/>
    <dgm:cxn modelId="{1FCBAA04-85A3-401B-86B0-02336039D83D}" type="presParOf" srcId="{CB4074BD-504A-411B-9CF3-5B0D20B5BC5F}" destId="{7B78D843-3F95-4EA5-A79B-87898D4B188B}" srcOrd="5" destOrd="0" presId="urn:microsoft.com/office/officeart/2005/8/layout/vList2"/>
    <dgm:cxn modelId="{E73F78E3-031F-40A3-A541-0B2ADA59CE8B}" type="presParOf" srcId="{CB4074BD-504A-411B-9CF3-5B0D20B5BC5F}" destId="{9ECE8E2A-A096-4579-9455-E9FA1881820A}" srcOrd="6" destOrd="0" presId="urn:microsoft.com/office/officeart/2005/8/layout/vList2"/>
    <dgm:cxn modelId="{291C9533-DBB2-4F40-920D-244903742D52}" type="presParOf" srcId="{CB4074BD-504A-411B-9CF3-5B0D20B5BC5F}" destId="{49B855D0-BF33-4A90-8769-8E1B500C518A}" srcOrd="7" destOrd="0" presId="urn:microsoft.com/office/officeart/2005/8/layout/vList2"/>
    <dgm:cxn modelId="{7C75EB6C-AB1F-42F6-85D5-32B82D320628}" type="presParOf" srcId="{CB4074BD-504A-411B-9CF3-5B0D20B5BC5F}" destId="{4BBB6E29-C4ED-4367-8758-0965FC1D3302}"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206DEC42-B6AD-4ACF-BBB7-6FC12747C07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E3E63E1-91EC-44B9-9FC4-D9C7506E804F}">
      <dgm:prSet custT="1"/>
      <dgm:spPr/>
      <dgm:t>
        <a:bodyPr/>
        <a:lstStyle/>
        <a:p>
          <a:r>
            <a:rPr lang="en-US" sz="2600" b="1" dirty="0"/>
            <a:t>Examples of other conduct that could be sexual harassment</a:t>
          </a:r>
          <a:r>
            <a:rPr lang="en-US" sz="2200" dirty="0"/>
            <a:t>:</a:t>
          </a:r>
        </a:p>
      </dgm:t>
    </dgm:pt>
    <dgm:pt modelId="{FBD6AED6-7A76-412D-A764-1A90836B74B6}" type="parTrans" cxnId="{A43D8469-AC5C-4A49-9ABD-BB68BF90B78A}">
      <dgm:prSet/>
      <dgm:spPr/>
      <dgm:t>
        <a:bodyPr/>
        <a:lstStyle/>
        <a:p>
          <a:endParaRPr lang="en-US"/>
        </a:p>
      </dgm:t>
    </dgm:pt>
    <dgm:pt modelId="{18E92B46-2F9F-4F01-97C0-B4B984DD18F7}" type="sibTrans" cxnId="{A43D8469-AC5C-4A49-9ABD-BB68BF90B78A}">
      <dgm:prSet/>
      <dgm:spPr/>
      <dgm:t>
        <a:bodyPr/>
        <a:lstStyle/>
        <a:p>
          <a:endParaRPr lang="en-US"/>
        </a:p>
      </dgm:t>
    </dgm:pt>
    <dgm:pt modelId="{5C874A82-B00F-4EB2-B242-4AA0235F0E71}">
      <dgm:prSet/>
      <dgm:spPr/>
      <dgm:t>
        <a:bodyPr/>
        <a:lstStyle/>
        <a:p>
          <a:r>
            <a:rPr lang="en-US"/>
            <a:t>Whistling or cat calls</a:t>
          </a:r>
        </a:p>
      </dgm:t>
    </dgm:pt>
    <dgm:pt modelId="{65C9D9F7-EFA2-4B94-A181-77AD3592B6FF}" type="parTrans" cxnId="{39FF3F8F-5C60-42DF-A117-4C2DF2CBAB9E}">
      <dgm:prSet/>
      <dgm:spPr/>
      <dgm:t>
        <a:bodyPr/>
        <a:lstStyle/>
        <a:p>
          <a:endParaRPr lang="en-US"/>
        </a:p>
      </dgm:t>
    </dgm:pt>
    <dgm:pt modelId="{74FE66E2-11B0-4DF1-8CB9-2E43DAA334E9}" type="sibTrans" cxnId="{39FF3F8F-5C60-42DF-A117-4C2DF2CBAB9E}">
      <dgm:prSet/>
      <dgm:spPr/>
      <dgm:t>
        <a:bodyPr/>
        <a:lstStyle/>
        <a:p>
          <a:endParaRPr lang="en-US"/>
        </a:p>
      </dgm:t>
    </dgm:pt>
    <dgm:pt modelId="{2B76601A-3805-4AE4-93A8-2403014E6CAE}">
      <dgm:prSet/>
      <dgm:spPr/>
      <dgm:t>
        <a:bodyPr/>
        <a:lstStyle/>
        <a:p>
          <a:r>
            <a:rPr lang="en-US"/>
            <a:t>Sexually explicit sounds through speakers</a:t>
          </a:r>
        </a:p>
      </dgm:t>
    </dgm:pt>
    <dgm:pt modelId="{4618FD35-7002-4B48-AAF5-40509A0BED89}" type="parTrans" cxnId="{F2F7F033-D76B-4437-8C89-346DF019ADA5}">
      <dgm:prSet/>
      <dgm:spPr/>
      <dgm:t>
        <a:bodyPr/>
        <a:lstStyle/>
        <a:p>
          <a:endParaRPr lang="en-US"/>
        </a:p>
      </dgm:t>
    </dgm:pt>
    <dgm:pt modelId="{2EF86669-6B13-4DE8-A54A-022F007077BF}" type="sibTrans" cxnId="{F2F7F033-D76B-4437-8C89-346DF019ADA5}">
      <dgm:prSet/>
      <dgm:spPr/>
      <dgm:t>
        <a:bodyPr/>
        <a:lstStyle/>
        <a:p>
          <a:endParaRPr lang="en-US"/>
        </a:p>
      </dgm:t>
    </dgm:pt>
    <dgm:pt modelId="{FB56218A-047C-420B-B541-846EA5879542}">
      <dgm:prSet/>
      <dgm:spPr/>
      <dgm:t>
        <a:bodyPr/>
        <a:lstStyle/>
        <a:p>
          <a:r>
            <a:rPr lang="en-US"/>
            <a:t>Sex-tinged or gender specific pranks or practical jokes</a:t>
          </a:r>
        </a:p>
      </dgm:t>
    </dgm:pt>
    <dgm:pt modelId="{C1211AF1-F451-49DA-AA0B-402BC1F36871}" type="parTrans" cxnId="{C5BB3625-FBFA-47AD-A453-76D157F8A973}">
      <dgm:prSet/>
      <dgm:spPr/>
      <dgm:t>
        <a:bodyPr/>
        <a:lstStyle/>
        <a:p>
          <a:endParaRPr lang="en-US"/>
        </a:p>
      </dgm:t>
    </dgm:pt>
    <dgm:pt modelId="{89D38FDC-3015-4075-B17B-AB83F8963CC4}" type="sibTrans" cxnId="{C5BB3625-FBFA-47AD-A453-76D157F8A973}">
      <dgm:prSet/>
      <dgm:spPr/>
      <dgm:t>
        <a:bodyPr/>
        <a:lstStyle/>
        <a:p>
          <a:endParaRPr lang="en-US"/>
        </a:p>
      </dgm:t>
    </dgm:pt>
    <dgm:pt modelId="{A9B4E2AF-8FB9-4AB8-84CD-EBE378D1C228}">
      <dgm:prSet/>
      <dgm:spPr/>
      <dgm:t>
        <a:bodyPr/>
        <a:lstStyle/>
        <a:p>
          <a:r>
            <a:rPr lang="en-US"/>
            <a:t>Holding company functions in an inappropriate environment or inviting inappropriate guests or entertainment</a:t>
          </a:r>
        </a:p>
      </dgm:t>
    </dgm:pt>
    <dgm:pt modelId="{63F8A4E5-EE42-4D97-8CF9-54BDD3629AC3}" type="parTrans" cxnId="{C9FF7C4D-F6AF-477E-95B9-02219E3233D9}">
      <dgm:prSet/>
      <dgm:spPr/>
      <dgm:t>
        <a:bodyPr/>
        <a:lstStyle/>
        <a:p>
          <a:endParaRPr lang="en-US"/>
        </a:p>
      </dgm:t>
    </dgm:pt>
    <dgm:pt modelId="{797F6933-A2DE-4C7F-B05B-46462B3A9CF6}" type="sibTrans" cxnId="{C9FF7C4D-F6AF-477E-95B9-02219E3233D9}">
      <dgm:prSet/>
      <dgm:spPr/>
      <dgm:t>
        <a:bodyPr/>
        <a:lstStyle/>
        <a:p>
          <a:endParaRPr lang="en-US"/>
        </a:p>
      </dgm:t>
    </dgm:pt>
    <dgm:pt modelId="{1D55BE92-8567-47B2-84CD-382D6F2FE7BD}">
      <dgm:prSet/>
      <dgm:spPr/>
      <dgm:t>
        <a:bodyPr/>
        <a:lstStyle/>
        <a:p>
          <a:r>
            <a:rPr lang="en-US"/>
            <a:t>Sexual favoritism</a:t>
          </a:r>
        </a:p>
      </dgm:t>
    </dgm:pt>
    <dgm:pt modelId="{6C0C758B-9048-4F2A-8387-ECC98AA698FA}" type="parTrans" cxnId="{D14DD518-75BB-4B1F-9AFC-60A1F03E2186}">
      <dgm:prSet/>
      <dgm:spPr/>
      <dgm:t>
        <a:bodyPr/>
        <a:lstStyle/>
        <a:p>
          <a:endParaRPr lang="en-US"/>
        </a:p>
      </dgm:t>
    </dgm:pt>
    <dgm:pt modelId="{7FE9C061-C4D5-4B75-A46E-71BED3B782D5}" type="sibTrans" cxnId="{D14DD518-75BB-4B1F-9AFC-60A1F03E2186}">
      <dgm:prSet/>
      <dgm:spPr/>
      <dgm:t>
        <a:bodyPr/>
        <a:lstStyle/>
        <a:p>
          <a:endParaRPr lang="en-US"/>
        </a:p>
      </dgm:t>
    </dgm:pt>
    <dgm:pt modelId="{FAFBB261-EFC8-485D-A508-80FF62B0D5D6}" type="pres">
      <dgm:prSet presAssocID="{206DEC42-B6AD-4ACF-BBB7-6FC12747C074}" presName="vert0" presStyleCnt="0">
        <dgm:presLayoutVars>
          <dgm:dir/>
          <dgm:animOne val="branch"/>
          <dgm:animLvl val="lvl"/>
        </dgm:presLayoutVars>
      </dgm:prSet>
      <dgm:spPr/>
    </dgm:pt>
    <dgm:pt modelId="{7F93DC20-FFE4-423F-808D-8BD2BEA6192A}" type="pres">
      <dgm:prSet presAssocID="{4E3E63E1-91EC-44B9-9FC4-D9C7506E804F}" presName="thickLine" presStyleLbl="alignNode1" presStyleIdx="0" presStyleCnt="1"/>
      <dgm:spPr/>
    </dgm:pt>
    <dgm:pt modelId="{ABECE032-00B4-4DFC-A8F8-ED302C3503FB}" type="pres">
      <dgm:prSet presAssocID="{4E3E63E1-91EC-44B9-9FC4-D9C7506E804F}" presName="horz1" presStyleCnt="0"/>
      <dgm:spPr/>
    </dgm:pt>
    <dgm:pt modelId="{9312FDC3-35BD-412D-8123-319657CBF62B}" type="pres">
      <dgm:prSet presAssocID="{4E3E63E1-91EC-44B9-9FC4-D9C7506E804F}" presName="tx1" presStyleLbl="revTx" presStyleIdx="0" presStyleCnt="6" custScaleX="151945"/>
      <dgm:spPr/>
    </dgm:pt>
    <dgm:pt modelId="{5C6FB92B-7BB7-41CF-88DE-E3E5D1D973C2}" type="pres">
      <dgm:prSet presAssocID="{4E3E63E1-91EC-44B9-9FC4-D9C7506E804F}" presName="vert1" presStyleCnt="0"/>
      <dgm:spPr/>
    </dgm:pt>
    <dgm:pt modelId="{9AE2F3A8-E8EF-43FE-AF95-F63865CF6D93}" type="pres">
      <dgm:prSet presAssocID="{5C874A82-B00F-4EB2-B242-4AA0235F0E71}" presName="vertSpace2a" presStyleCnt="0"/>
      <dgm:spPr/>
    </dgm:pt>
    <dgm:pt modelId="{0162CB7B-D4EA-44B7-9A07-03341D19E06E}" type="pres">
      <dgm:prSet presAssocID="{5C874A82-B00F-4EB2-B242-4AA0235F0E71}" presName="horz2" presStyleCnt="0"/>
      <dgm:spPr/>
    </dgm:pt>
    <dgm:pt modelId="{FB68D546-8C73-4A79-9DB1-772D380BBD4A}" type="pres">
      <dgm:prSet presAssocID="{5C874A82-B00F-4EB2-B242-4AA0235F0E71}" presName="horzSpace2" presStyleCnt="0"/>
      <dgm:spPr/>
    </dgm:pt>
    <dgm:pt modelId="{A9E34BAC-35D8-4FEF-98F0-7E06B035F395}" type="pres">
      <dgm:prSet presAssocID="{5C874A82-B00F-4EB2-B242-4AA0235F0E71}" presName="tx2" presStyleLbl="revTx" presStyleIdx="1" presStyleCnt="6"/>
      <dgm:spPr/>
    </dgm:pt>
    <dgm:pt modelId="{476C5796-27E6-4BBB-8ED2-1578046DF0BD}" type="pres">
      <dgm:prSet presAssocID="{5C874A82-B00F-4EB2-B242-4AA0235F0E71}" presName="vert2" presStyleCnt="0"/>
      <dgm:spPr/>
    </dgm:pt>
    <dgm:pt modelId="{859E794E-96B5-4952-8AC2-2B4E711746BC}" type="pres">
      <dgm:prSet presAssocID="{5C874A82-B00F-4EB2-B242-4AA0235F0E71}" presName="thinLine2b" presStyleLbl="callout" presStyleIdx="0" presStyleCnt="5"/>
      <dgm:spPr/>
    </dgm:pt>
    <dgm:pt modelId="{41846699-4206-45D3-AA0C-A95E98B906E1}" type="pres">
      <dgm:prSet presAssocID="{5C874A82-B00F-4EB2-B242-4AA0235F0E71}" presName="vertSpace2b" presStyleCnt="0"/>
      <dgm:spPr/>
    </dgm:pt>
    <dgm:pt modelId="{C3FB56C9-D809-4E41-A610-ED72F69C9723}" type="pres">
      <dgm:prSet presAssocID="{2B76601A-3805-4AE4-93A8-2403014E6CAE}" presName="horz2" presStyleCnt="0"/>
      <dgm:spPr/>
    </dgm:pt>
    <dgm:pt modelId="{BFFD5070-A867-4D95-978C-C10A761B14CA}" type="pres">
      <dgm:prSet presAssocID="{2B76601A-3805-4AE4-93A8-2403014E6CAE}" presName="horzSpace2" presStyleCnt="0"/>
      <dgm:spPr/>
    </dgm:pt>
    <dgm:pt modelId="{8186A4D1-0156-4C96-BB4A-79A33B225819}" type="pres">
      <dgm:prSet presAssocID="{2B76601A-3805-4AE4-93A8-2403014E6CAE}" presName="tx2" presStyleLbl="revTx" presStyleIdx="2" presStyleCnt="6"/>
      <dgm:spPr/>
    </dgm:pt>
    <dgm:pt modelId="{1B5185F5-F1D6-4E10-ADB1-6D083787D3C1}" type="pres">
      <dgm:prSet presAssocID="{2B76601A-3805-4AE4-93A8-2403014E6CAE}" presName="vert2" presStyleCnt="0"/>
      <dgm:spPr/>
    </dgm:pt>
    <dgm:pt modelId="{28250926-47F9-4B6C-B183-C4910A559C03}" type="pres">
      <dgm:prSet presAssocID="{2B76601A-3805-4AE4-93A8-2403014E6CAE}" presName="thinLine2b" presStyleLbl="callout" presStyleIdx="1" presStyleCnt="5"/>
      <dgm:spPr/>
    </dgm:pt>
    <dgm:pt modelId="{6BB75EE5-4B00-402C-9321-B8DCDAFF53E4}" type="pres">
      <dgm:prSet presAssocID="{2B76601A-3805-4AE4-93A8-2403014E6CAE}" presName="vertSpace2b" presStyleCnt="0"/>
      <dgm:spPr/>
    </dgm:pt>
    <dgm:pt modelId="{A621A151-F51D-4DB0-8768-FE83CEF39846}" type="pres">
      <dgm:prSet presAssocID="{FB56218A-047C-420B-B541-846EA5879542}" presName="horz2" presStyleCnt="0"/>
      <dgm:spPr/>
    </dgm:pt>
    <dgm:pt modelId="{984B157A-DB67-4430-97F9-D7652F0A20A1}" type="pres">
      <dgm:prSet presAssocID="{FB56218A-047C-420B-B541-846EA5879542}" presName="horzSpace2" presStyleCnt="0"/>
      <dgm:spPr/>
    </dgm:pt>
    <dgm:pt modelId="{FE8B4F2A-2E0F-4DBC-B946-A4B9A313E1F7}" type="pres">
      <dgm:prSet presAssocID="{FB56218A-047C-420B-B541-846EA5879542}" presName="tx2" presStyleLbl="revTx" presStyleIdx="3" presStyleCnt="6"/>
      <dgm:spPr/>
    </dgm:pt>
    <dgm:pt modelId="{1BFA713F-55C3-49D1-9A16-EDC5FD5143B8}" type="pres">
      <dgm:prSet presAssocID="{FB56218A-047C-420B-B541-846EA5879542}" presName="vert2" presStyleCnt="0"/>
      <dgm:spPr/>
    </dgm:pt>
    <dgm:pt modelId="{477CA06C-8CB6-4D8A-AE11-2226549E6D4D}" type="pres">
      <dgm:prSet presAssocID="{FB56218A-047C-420B-B541-846EA5879542}" presName="thinLine2b" presStyleLbl="callout" presStyleIdx="2" presStyleCnt="5"/>
      <dgm:spPr/>
    </dgm:pt>
    <dgm:pt modelId="{9A3139F9-E1CC-404E-9B76-1652B3607D69}" type="pres">
      <dgm:prSet presAssocID="{FB56218A-047C-420B-B541-846EA5879542}" presName="vertSpace2b" presStyleCnt="0"/>
      <dgm:spPr/>
    </dgm:pt>
    <dgm:pt modelId="{1AA9D66C-B39C-4D0E-8432-CFA881C96223}" type="pres">
      <dgm:prSet presAssocID="{A9B4E2AF-8FB9-4AB8-84CD-EBE378D1C228}" presName="horz2" presStyleCnt="0"/>
      <dgm:spPr/>
    </dgm:pt>
    <dgm:pt modelId="{2531E488-152A-444B-8598-E28EE0DC2109}" type="pres">
      <dgm:prSet presAssocID="{A9B4E2AF-8FB9-4AB8-84CD-EBE378D1C228}" presName="horzSpace2" presStyleCnt="0"/>
      <dgm:spPr/>
    </dgm:pt>
    <dgm:pt modelId="{CCBBC7AE-48F6-4C66-B15D-F47ABA905FB6}" type="pres">
      <dgm:prSet presAssocID="{A9B4E2AF-8FB9-4AB8-84CD-EBE378D1C228}" presName="tx2" presStyleLbl="revTx" presStyleIdx="4" presStyleCnt="6"/>
      <dgm:spPr/>
    </dgm:pt>
    <dgm:pt modelId="{8BF46259-7772-4097-9816-34DB0ACDD609}" type="pres">
      <dgm:prSet presAssocID="{A9B4E2AF-8FB9-4AB8-84CD-EBE378D1C228}" presName="vert2" presStyleCnt="0"/>
      <dgm:spPr/>
    </dgm:pt>
    <dgm:pt modelId="{0C5C7B47-C56F-4850-AFBC-054F7E8B0379}" type="pres">
      <dgm:prSet presAssocID="{A9B4E2AF-8FB9-4AB8-84CD-EBE378D1C228}" presName="thinLine2b" presStyleLbl="callout" presStyleIdx="3" presStyleCnt="5"/>
      <dgm:spPr/>
    </dgm:pt>
    <dgm:pt modelId="{6B81599E-92A6-4B29-9371-3FD87B56C9FE}" type="pres">
      <dgm:prSet presAssocID="{A9B4E2AF-8FB9-4AB8-84CD-EBE378D1C228}" presName="vertSpace2b" presStyleCnt="0"/>
      <dgm:spPr/>
    </dgm:pt>
    <dgm:pt modelId="{F6886498-8A9B-4A07-9789-A823F006274E}" type="pres">
      <dgm:prSet presAssocID="{1D55BE92-8567-47B2-84CD-382D6F2FE7BD}" presName="horz2" presStyleCnt="0"/>
      <dgm:spPr/>
    </dgm:pt>
    <dgm:pt modelId="{C30364AB-4908-4163-8DBA-817283A5240C}" type="pres">
      <dgm:prSet presAssocID="{1D55BE92-8567-47B2-84CD-382D6F2FE7BD}" presName="horzSpace2" presStyleCnt="0"/>
      <dgm:spPr/>
    </dgm:pt>
    <dgm:pt modelId="{01ABACC0-9C9C-498F-82D0-1956E422E8B3}" type="pres">
      <dgm:prSet presAssocID="{1D55BE92-8567-47B2-84CD-382D6F2FE7BD}" presName="tx2" presStyleLbl="revTx" presStyleIdx="5" presStyleCnt="6"/>
      <dgm:spPr/>
    </dgm:pt>
    <dgm:pt modelId="{BA22EAF1-54F6-4E43-9011-88E6E93C774D}" type="pres">
      <dgm:prSet presAssocID="{1D55BE92-8567-47B2-84CD-382D6F2FE7BD}" presName="vert2" presStyleCnt="0"/>
      <dgm:spPr/>
    </dgm:pt>
    <dgm:pt modelId="{664FD3C0-8B9D-4043-AE1E-6C6301BA94A6}" type="pres">
      <dgm:prSet presAssocID="{1D55BE92-8567-47B2-84CD-382D6F2FE7BD}" presName="thinLine2b" presStyleLbl="callout" presStyleIdx="4" presStyleCnt="5"/>
      <dgm:spPr/>
    </dgm:pt>
    <dgm:pt modelId="{FC5E586B-518A-4666-A8EE-BD7A229E736E}" type="pres">
      <dgm:prSet presAssocID="{1D55BE92-8567-47B2-84CD-382D6F2FE7BD}" presName="vertSpace2b" presStyleCnt="0"/>
      <dgm:spPr/>
    </dgm:pt>
  </dgm:ptLst>
  <dgm:cxnLst>
    <dgm:cxn modelId="{57CA620D-CC02-4B9E-B348-CE6CE4390803}" type="presOf" srcId="{4E3E63E1-91EC-44B9-9FC4-D9C7506E804F}" destId="{9312FDC3-35BD-412D-8123-319657CBF62B}" srcOrd="0" destOrd="0" presId="urn:microsoft.com/office/officeart/2008/layout/LinedList"/>
    <dgm:cxn modelId="{9422C914-087C-4E8C-A45D-4EEBEC5FA20C}" type="presOf" srcId="{5C874A82-B00F-4EB2-B242-4AA0235F0E71}" destId="{A9E34BAC-35D8-4FEF-98F0-7E06B035F395}" srcOrd="0" destOrd="0" presId="urn:microsoft.com/office/officeart/2008/layout/LinedList"/>
    <dgm:cxn modelId="{D14DD518-75BB-4B1F-9AFC-60A1F03E2186}" srcId="{4E3E63E1-91EC-44B9-9FC4-D9C7506E804F}" destId="{1D55BE92-8567-47B2-84CD-382D6F2FE7BD}" srcOrd="4" destOrd="0" parTransId="{6C0C758B-9048-4F2A-8387-ECC98AA698FA}" sibTransId="{7FE9C061-C4D5-4B75-A46E-71BED3B782D5}"/>
    <dgm:cxn modelId="{C5BB3625-FBFA-47AD-A453-76D157F8A973}" srcId="{4E3E63E1-91EC-44B9-9FC4-D9C7506E804F}" destId="{FB56218A-047C-420B-B541-846EA5879542}" srcOrd="2" destOrd="0" parTransId="{C1211AF1-F451-49DA-AA0B-402BC1F36871}" sibTransId="{89D38FDC-3015-4075-B17B-AB83F8963CC4}"/>
    <dgm:cxn modelId="{696EEE2E-2D05-44F8-860B-18EF581E55D9}" type="presOf" srcId="{206DEC42-B6AD-4ACF-BBB7-6FC12747C074}" destId="{FAFBB261-EFC8-485D-A508-80FF62B0D5D6}" srcOrd="0" destOrd="0" presId="urn:microsoft.com/office/officeart/2008/layout/LinedList"/>
    <dgm:cxn modelId="{610D5332-FBAA-4BF9-86E6-A29D0B0EA9B1}" type="presOf" srcId="{A9B4E2AF-8FB9-4AB8-84CD-EBE378D1C228}" destId="{CCBBC7AE-48F6-4C66-B15D-F47ABA905FB6}" srcOrd="0" destOrd="0" presId="urn:microsoft.com/office/officeart/2008/layout/LinedList"/>
    <dgm:cxn modelId="{F2F7F033-D76B-4437-8C89-346DF019ADA5}" srcId="{4E3E63E1-91EC-44B9-9FC4-D9C7506E804F}" destId="{2B76601A-3805-4AE4-93A8-2403014E6CAE}" srcOrd="1" destOrd="0" parTransId="{4618FD35-7002-4B48-AAF5-40509A0BED89}" sibTransId="{2EF86669-6B13-4DE8-A54A-022F007077BF}"/>
    <dgm:cxn modelId="{67D7AF67-50FE-4527-BC0F-5A037AEE6CFE}" type="presOf" srcId="{FB56218A-047C-420B-B541-846EA5879542}" destId="{FE8B4F2A-2E0F-4DBC-B946-A4B9A313E1F7}" srcOrd="0" destOrd="0" presId="urn:microsoft.com/office/officeart/2008/layout/LinedList"/>
    <dgm:cxn modelId="{25587848-3AB2-457B-9568-0FC990FB19AF}" type="presOf" srcId="{2B76601A-3805-4AE4-93A8-2403014E6CAE}" destId="{8186A4D1-0156-4C96-BB4A-79A33B225819}" srcOrd="0" destOrd="0" presId="urn:microsoft.com/office/officeart/2008/layout/LinedList"/>
    <dgm:cxn modelId="{A43D8469-AC5C-4A49-9ABD-BB68BF90B78A}" srcId="{206DEC42-B6AD-4ACF-BBB7-6FC12747C074}" destId="{4E3E63E1-91EC-44B9-9FC4-D9C7506E804F}" srcOrd="0" destOrd="0" parTransId="{FBD6AED6-7A76-412D-A764-1A90836B74B6}" sibTransId="{18E92B46-2F9F-4F01-97C0-B4B984DD18F7}"/>
    <dgm:cxn modelId="{C9FF7C4D-F6AF-477E-95B9-02219E3233D9}" srcId="{4E3E63E1-91EC-44B9-9FC4-D9C7506E804F}" destId="{A9B4E2AF-8FB9-4AB8-84CD-EBE378D1C228}" srcOrd="3" destOrd="0" parTransId="{63F8A4E5-EE42-4D97-8CF9-54BDD3629AC3}" sibTransId="{797F6933-A2DE-4C7F-B05B-46462B3A9CF6}"/>
    <dgm:cxn modelId="{39FF3F8F-5C60-42DF-A117-4C2DF2CBAB9E}" srcId="{4E3E63E1-91EC-44B9-9FC4-D9C7506E804F}" destId="{5C874A82-B00F-4EB2-B242-4AA0235F0E71}" srcOrd="0" destOrd="0" parTransId="{65C9D9F7-EFA2-4B94-A181-77AD3592B6FF}" sibTransId="{74FE66E2-11B0-4DF1-8CB9-2E43DAA334E9}"/>
    <dgm:cxn modelId="{9CC82BD4-5B83-4770-8F9E-FCE49658DA3E}" type="presOf" srcId="{1D55BE92-8567-47B2-84CD-382D6F2FE7BD}" destId="{01ABACC0-9C9C-498F-82D0-1956E422E8B3}" srcOrd="0" destOrd="0" presId="urn:microsoft.com/office/officeart/2008/layout/LinedList"/>
    <dgm:cxn modelId="{72CDD202-330A-4E4C-8B54-75401A0B203F}" type="presParOf" srcId="{FAFBB261-EFC8-485D-A508-80FF62B0D5D6}" destId="{7F93DC20-FFE4-423F-808D-8BD2BEA6192A}" srcOrd="0" destOrd="0" presId="urn:microsoft.com/office/officeart/2008/layout/LinedList"/>
    <dgm:cxn modelId="{49F62B82-F4DD-4880-8B54-834C660389C8}" type="presParOf" srcId="{FAFBB261-EFC8-485D-A508-80FF62B0D5D6}" destId="{ABECE032-00B4-4DFC-A8F8-ED302C3503FB}" srcOrd="1" destOrd="0" presId="urn:microsoft.com/office/officeart/2008/layout/LinedList"/>
    <dgm:cxn modelId="{5EDE7CC3-98ED-404A-AED7-63A0FD734D93}" type="presParOf" srcId="{ABECE032-00B4-4DFC-A8F8-ED302C3503FB}" destId="{9312FDC3-35BD-412D-8123-319657CBF62B}" srcOrd="0" destOrd="0" presId="urn:microsoft.com/office/officeart/2008/layout/LinedList"/>
    <dgm:cxn modelId="{FD29D1AB-E828-40CC-98B3-02863393DB87}" type="presParOf" srcId="{ABECE032-00B4-4DFC-A8F8-ED302C3503FB}" destId="{5C6FB92B-7BB7-41CF-88DE-E3E5D1D973C2}" srcOrd="1" destOrd="0" presId="urn:microsoft.com/office/officeart/2008/layout/LinedList"/>
    <dgm:cxn modelId="{79612D18-B49A-4235-8E0A-1274919C21B7}" type="presParOf" srcId="{5C6FB92B-7BB7-41CF-88DE-E3E5D1D973C2}" destId="{9AE2F3A8-E8EF-43FE-AF95-F63865CF6D93}" srcOrd="0" destOrd="0" presId="urn:microsoft.com/office/officeart/2008/layout/LinedList"/>
    <dgm:cxn modelId="{671634E9-15F1-4751-A0A1-14797FD4FE29}" type="presParOf" srcId="{5C6FB92B-7BB7-41CF-88DE-E3E5D1D973C2}" destId="{0162CB7B-D4EA-44B7-9A07-03341D19E06E}" srcOrd="1" destOrd="0" presId="urn:microsoft.com/office/officeart/2008/layout/LinedList"/>
    <dgm:cxn modelId="{C66A356A-4EBC-43C8-B53D-25EC4A31B377}" type="presParOf" srcId="{0162CB7B-D4EA-44B7-9A07-03341D19E06E}" destId="{FB68D546-8C73-4A79-9DB1-772D380BBD4A}" srcOrd="0" destOrd="0" presId="urn:microsoft.com/office/officeart/2008/layout/LinedList"/>
    <dgm:cxn modelId="{4C2506AF-BFA0-4536-A757-90905E4E3E35}" type="presParOf" srcId="{0162CB7B-D4EA-44B7-9A07-03341D19E06E}" destId="{A9E34BAC-35D8-4FEF-98F0-7E06B035F395}" srcOrd="1" destOrd="0" presId="urn:microsoft.com/office/officeart/2008/layout/LinedList"/>
    <dgm:cxn modelId="{1531C1AB-9E82-43E7-8E67-BAA6D6EA0EBE}" type="presParOf" srcId="{0162CB7B-D4EA-44B7-9A07-03341D19E06E}" destId="{476C5796-27E6-4BBB-8ED2-1578046DF0BD}" srcOrd="2" destOrd="0" presId="urn:microsoft.com/office/officeart/2008/layout/LinedList"/>
    <dgm:cxn modelId="{6B0ECF2F-0D08-4047-982C-F1A22454A225}" type="presParOf" srcId="{5C6FB92B-7BB7-41CF-88DE-E3E5D1D973C2}" destId="{859E794E-96B5-4952-8AC2-2B4E711746BC}" srcOrd="2" destOrd="0" presId="urn:microsoft.com/office/officeart/2008/layout/LinedList"/>
    <dgm:cxn modelId="{98A237C7-2963-4928-93D0-1AEC83724474}" type="presParOf" srcId="{5C6FB92B-7BB7-41CF-88DE-E3E5D1D973C2}" destId="{41846699-4206-45D3-AA0C-A95E98B906E1}" srcOrd="3" destOrd="0" presId="urn:microsoft.com/office/officeart/2008/layout/LinedList"/>
    <dgm:cxn modelId="{D865AFC1-C45F-4ED3-9FF2-2C74B5735717}" type="presParOf" srcId="{5C6FB92B-7BB7-41CF-88DE-E3E5D1D973C2}" destId="{C3FB56C9-D809-4E41-A610-ED72F69C9723}" srcOrd="4" destOrd="0" presId="urn:microsoft.com/office/officeart/2008/layout/LinedList"/>
    <dgm:cxn modelId="{107F625B-EF37-4EA7-9902-365C181FF4A8}" type="presParOf" srcId="{C3FB56C9-D809-4E41-A610-ED72F69C9723}" destId="{BFFD5070-A867-4D95-978C-C10A761B14CA}" srcOrd="0" destOrd="0" presId="urn:microsoft.com/office/officeart/2008/layout/LinedList"/>
    <dgm:cxn modelId="{EA5DC642-86A2-45F6-BD40-A842C56B1CE7}" type="presParOf" srcId="{C3FB56C9-D809-4E41-A610-ED72F69C9723}" destId="{8186A4D1-0156-4C96-BB4A-79A33B225819}" srcOrd="1" destOrd="0" presId="urn:microsoft.com/office/officeart/2008/layout/LinedList"/>
    <dgm:cxn modelId="{40A44229-C1D3-44E9-A234-E6CF29598DE7}" type="presParOf" srcId="{C3FB56C9-D809-4E41-A610-ED72F69C9723}" destId="{1B5185F5-F1D6-4E10-ADB1-6D083787D3C1}" srcOrd="2" destOrd="0" presId="urn:microsoft.com/office/officeart/2008/layout/LinedList"/>
    <dgm:cxn modelId="{BC3E4B51-4A7D-4653-8821-3DE7521072AF}" type="presParOf" srcId="{5C6FB92B-7BB7-41CF-88DE-E3E5D1D973C2}" destId="{28250926-47F9-4B6C-B183-C4910A559C03}" srcOrd="5" destOrd="0" presId="urn:microsoft.com/office/officeart/2008/layout/LinedList"/>
    <dgm:cxn modelId="{055016D0-E68F-4576-B5BD-5B04FD557E0E}" type="presParOf" srcId="{5C6FB92B-7BB7-41CF-88DE-E3E5D1D973C2}" destId="{6BB75EE5-4B00-402C-9321-B8DCDAFF53E4}" srcOrd="6" destOrd="0" presId="urn:microsoft.com/office/officeart/2008/layout/LinedList"/>
    <dgm:cxn modelId="{DC9E0E31-5029-477A-980F-450A8C644F93}" type="presParOf" srcId="{5C6FB92B-7BB7-41CF-88DE-E3E5D1D973C2}" destId="{A621A151-F51D-4DB0-8768-FE83CEF39846}" srcOrd="7" destOrd="0" presId="urn:microsoft.com/office/officeart/2008/layout/LinedList"/>
    <dgm:cxn modelId="{99B1F6B2-A968-4338-8524-D93BEF7C8F95}" type="presParOf" srcId="{A621A151-F51D-4DB0-8768-FE83CEF39846}" destId="{984B157A-DB67-4430-97F9-D7652F0A20A1}" srcOrd="0" destOrd="0" presId="urn:microsoft.com/office/officeart/2008/layout/LinedList"/>
    <dgm:cxn modelId="{096C85F9-0E5E-4562-9BB6-5B9CCB85315F}" type="presParOf" srcId="{A621A151-F51D-4DB0-8768-FE83CEF39846}" destId="{FE8B4F2A-2E0F-4DBC-B946-A4B9A313E1F7}" srcOrd="1" destOrd="0" presId="urn:microsoft.com/office/officeart/2008/layout/LinedList"/>
    <dgm:cxn modelId="{478AB569-01AC-4C0D-BB20-166C03E5BA4B}" type="presParOf" srcId="{A621A151-F51D-4DB0-8768-FE83CEF39846}" destId="{1BFA713F-55C3-49D1-9A16-EDC5FD5143B8}" srcOrd="2" destOrd="0" presId="urn:microsoft.com/office/officeart/2008/layout/LinedList"/>
    <dgm:cxn modelId="{AAA6DF2C-4BF6-420E-9520-89E4BE359A2E}" type="presParOf" srcId="{5C6FB92B-7BB7-41CF-88DE-E3E5D1D973C2}" destId="{477CA06C-8CB6-4D8A-AE11-2226549E6D4D}" srcOrd="8" destOrd="0" presId="urn:microsoft.com/office/officeart/2008/layout/LinedList"/>
    <dgm:cxn modelId="{26129741-EC95-4880-8A87-CDF49A9BD9EB}" type="presParOf" srcId="{5C6FB92B-7BB7-41CF-88DE-E3E5D1D973C2}" destId="{9A3139F9-E1CC-404E-9B76-1652B3607D69}" srcOrd="9" destOrd="0" presId="urn:microsoft.com/office/officeart/2008/layout/LinedList"/>
    <dgm:cxn modelId="{8AD14F20-69B1-4243-95C9-D73F953CCB7B}" type="presParOf" srcId="{5C6FB92B-7BB7-41CF-88DE-E3E5D1D973C2}" destId="{1AA9D66C-B39C-4D0E-8432-CFA881C96223}" srcOrd="10" destOrd="0" presId="urn:microsoft.com/office/officeart/2008/layout/LinedList"/>
    <dgm:cxn modelId="{290C71EC-FF96-47AA-877D-B97C0264F7EA}" type="presParOf" srcId="{1AA9D66C-B39C-4D0E-8432-CFA881C96223}" destId="{2531E488-152A-444B-8598-E28EE0DC2109}" srcOrd="0" destOrd="0" presId="urn:microsoft.com/office/officeart/2008/layout/LinedList"/>
    <dgm:cxn modelId="{B4DFDE5B-2918-4842-97CC-F908B65AAB05}" type="presParOf" srcId="{1AA9D66C-B39C-4D0E-8432-CFA881C96223}" destId="{CCBBC7AE-48F6-4C66-B15D-F47ABA905FB6}" srcOrd="1" destOrd="0" presId="urn:microsoft.com/office/officeart/2008/layout/LinedList"/>
    <dgm:cxn modelId="{5B7BD0FD-2CD2-4FCE-A825-6243C9A57A25}" type="presParOf" srcId="{1AA9D66C-B39C-4D0E-8432-CFA881C96223}" destId="{8BF46259-7772-4097-9816-34DB0ACDD609}" srcOrd="2" destOrd="0" presId="urn:microsoft.com/office/officeart/2008/layout/LinedList"/>
    <dgm:cxn modelId="{006E3939-3599-40DD-A3A1-0A0D7821D857}" type="presParOf" srcId="{5C6FB92B-7BB7-41CF-88DE-E3E5D1D973C2}" destId="{0C5C7B47-C56F-4850-AFBC-054F7E8B0379}" srcOrd="11" destOrd="0" presId="urn:microsoft.com/office/officeart/2008/layout/LinedList"/>
    <dgm:cxn modelId="{4AC3CE1C-8674-4B11-A1A5-405F5D139D1F}" type="presParOf" srcId="{5C6FB92B-7BB7-41CF-88DE-E3E5D1D973C2}" destId="{6B81599E-92A6-4B29-9371-3FD87B56C9FE}" srcOrd="12" destOrd="0" presId="urn:microsoft.com/office/officeart/2008/layout/LinedList"/>
    <dgm:cxn modelId="{1CDBA57B-132D-4A95-BD97-81CF674D64BD}" type="presParOf" srcId="{5C6FB92B-7BB7-41CF-88DE-E3E5D1D973C2}" destId="{F6886498-8A9B-4A07-9789-A823F006274E}" srcOrd="13" destOrd="0" presId="urn:microsoft.com/office/officeart/2008/layout/LinedList"/>
    <dgm:cxn modelId="{92FD29E2-E9D7-446B-8712-04D1A32A6BBB}" type="presParOf" srcId="{F6886498-8A9B-4A07-9789-A823F006274E}" destId="{C30364AB-4908-4163-8DBA-817283A5240C}" srcOrd="0" destOrd="0" presId="urn:microsoft.com/office/officeart/2008/layout/LinedList"/>
    <dgm:cxn modelId="{C5073BC5-8232-42C0-9D91-1339BD424116}" type="presParOf" srcId="{F6886498-8A9B-4A07-9789-A823F006274E}" destId="{01ABACC0-9C9C-498F-82D0-1956E422E8B3}" srcOrd="1" destOrd="0" presId="urn:microsoft.com/office/officeart/2008/layout/LinedList"/>
    <dgm:cxn modelId="{B83BD6F7-F68A-41D1-87C7-4355F78818F9}" type="presParOf" srcId="{F6886498-8A9B-4A07-9789-A823F006274E}" destId="{BA22EAF1-54F6-4E43-9011-88E6E93C774D}" srcOrd="2" destOrd="0" presId="urn:microsoft.com/office/officeart/2008/layout/LinedList"/>
    <dgm:cxn modelId="{DCD63979-7A2A-423B-AA75-8E1E3364C8C5}" type="presParOf" srcId="{5C6FB92B-7BB7-41CF-88DE-E3E5D1D973C2}" destId="{664FD3C0-8B9D-4043-AE1E-6C6301BA94A6}" srcOrd="14" destOrd="0" presId="urn:microsoft.com/office/officeart/2008/layout/LinedList"/>
    <dgm:cxn modelId="{C83E2D14-1211-488E-8541-C64ABD960FD9}" type="presParOf" srcId="{5C6FB92B-7BB7-41CF-88DE-E3E5D1D973C2}" destId="{FC5E586B-518A-4666-A8EE-BD7A229E736E}" srcOrd="15"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EE0A4A6-CABD-4642-BE1E-5E6F5FFEE21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AB3F13A-F7FB-4BF3-B992-C3B71078F21C}">
      <dgm:prSet/>
      <dgm:spPr/>
      <dgm:t>
        <a:bodyPr/>
        <a:lstStyle/>
        <a:p>
          <a:r>
            <a:rPr lang="en-US"/>
            <a:t>The company’s summer intern, Celeste, is assigned to work on a new project. </a:t>
          </a:r>
        </a:p>
      </dgm:t>
    </dgm:pt>
    <dgm:pt modelId="{6EC220F4-C270-4F2C-AADC-BC3EAB95792B}" type="parTrans" cxnId="{5EA42758-7674-493C-8C3F-5CD289D6842F}">
      <dgm:prSet/>
      <dgm:spPr/>
      <dgm:t>
        <a:bodyPr/>
        <a:lstStyle/>
        <a:p>
          <a:endParaRPr lang="en-US"/>
        </a:p>
      </dgm:t>
    </dgm:pt>
    <dgm:pt modelId="{E2A8A26B-4B64-4714-8E34-D5481B184740}" type="sibTrans" cxnId="{5EA42758-7674-493C-8C3F-5CD289D6842F}">
      <dgm:prSet/>
      <dgm:spPr/>
      <dgm:t>
        <a:bodyPr/>
        <a:lstStyle/>
        <a:p>
          <a:endParaRPr lang="en-US"/>
        </a:p>
      </dgm:t>
    </dgm:pt>
    <dgm:pt modelId="{517A86CC-C9F2-40E6-B5F1-9C4BDD13857D}">
      <dgm:prSet/>
      <dgm:spPr/>
      <dgm:t>
        <a:bodyPr/>
        <a:lstStyle/>
        <a:p>
          <a:r>
            <a:rPr lang="en-US"/>
            <a:t>Greg is managing the project and is Celeste’s official mentor. </a:t>
          </a:r>
        </a:p>
      </dgm:t>
    </dgm:pt>
    <dgm:pt modelId="{E7551FC8-8A6E-4615-849F-A2F2BD990A52}" type="parTrans" cxnId="{C52F1FD5-36E1-4A20-B1D7-C3CD50A91E38}">
      <dgm:prSet/>
      <dgm:spPr/>
      <dgm:t>
        <a:bodyPr/>
        <a:lstStyle/>
        <a:p>
          <a:endParaRPr lang="en-US"/>
        </a:p>
      </dgm:t>
    </dgm:pt>
    <dgm:pt modelId="{8B25FA69-9623-4434-BDF3-092BF962610C}" type="sibTrans" cxnId="{C52F1FD5-36E1-4A20-B1D7-C3CD50A91E38}">
      <dgm:prSet/>
      <dgm:spPr/>
      <dgm:t>
        <a:bodyPr/>
        <a:lstStyle/>
        <a:p>
          <a:endParaRPr lang="en-US"/>
        </a:p>
      </dgm:t>
    </dgm:pt>
    <dgm:pt modelId="{51807B09-BFB7-422A-A5AD-AC8F7FC28C24}">
      <dgm:prSet/>
      <dgm:spPr/>
      <dgm:t>
        <a:bodyPr/>
        <a:lstStyle/>
        <a:p>
          <a:r>
            <a:rPr lang="en-US"/>
            <a:t>It’s obvious to everyone on the team that Greg has a crush on Celeste. </a:t>
          </a:r>
        </a:p>
      </dgm:t>
    </dgm:pt>
    <dgm:pt modelId="{1C556165-B374-4499-8CAF-ABF73EDE8514}" type="parTrans" cxnId="{8606B0FF-B22C-45FF-A01C-9B66F084F016}">
      <dgm:prSet/>
      <dgm:spPr/>
      <dgm:t>
        <a:bodyPr/>
        <a:lstStyle/>
        <a:p>
          <a:endParaRPr lang="en-US"/>
        </a:p>
      </dgm:t>
    </dgm:pt>
    <dgm:pt modelId="{06EBECCF-AA88-438B-AB2E-B85DAEBD87CB}" type="sibTrans" cxnId="{8606B0FF-B22C-45FF-A01C-9B66F084F016}">
      <dgm:prSet/>
      <dgm:spPr/>
      <dgm:t>
        <a:bodyPr/>
        <a:lstStyle/>
        <a:p>
          <a:endParaRPr lang="en-US"/>
        </a:p>
      </dgm:t>
    </dgm:pt>
    <dgm:pt modelId="{287C7797-B1CC-4F1C-8847-DE5FAA58D2F6}" type="pres">
      <dgm:prSet presAssocID="{DEE0A4A6-CABD-4642-BE1E-5E6F5FFEE21B}" presName="linear" presStyleCnt="0">
        <dgm:presLayoutVars>
          <dgm:animLvl val="lvl"/>
          <dgm:resizeHandles val="exact"/>
        </dgm:presLayoutVars>
      </dgm:prSet>
      <dgm:spPr/>
    </dgm:pt>
    <dgm:pt modelId="{F9943CA0-FF78-4B7B-A7D5-A7BC404C4E41}" type="pres">
      <dgm:prSet presAssocID="{4AB3F13A-F7FB-4BF3-B992-C3B71078F21C}" presName="parentText" presStyleLbl="node1" presStyleIdx="0" presStyleCnt="3">
        <dgm:presLayoutVars>
          <dgm:chMax val="0"/>
          <dgm:bulletEnabled val="1"/>
        </dgm:presLayoutVars>
      </dgm:prSet>
      <dgm:spPr/>
    </dgm:pt>
    <dgm:pt modelId="{ADCDE9F0-1296-4C30-B114-D1629A775CF8}" type="pres">
      <dgm:prSet presAssocID="{E2A8A26B-4B64-4714-8E34-D5481B184740}" presName="spacer" presStyleCnt="0"/>
      <dgm:spPr/>
    </dgm:pt>
    <dgm:pt modelId="{76E735FD-0E81-4A45-9447-31C588BDB5BF}" type="pres">
      <dgm:prSet presAssocID="{517A86CC-C9F2-40E6-B5F1-9C4BDD13857D}" presName="parentText" presStyleLbl="node1" presStyleIdx="1" presStyleCnt="3">
        <dgm:presLayoutVars>
          <dgm:chMax val="0"/>
          <dgm:bulletEnabled val="1"/>
        </dgm:presLayoutVars>
      </dgm:prSet>
      <dgm:spPr/>
    </dgm:pt>
    <dgm:pt modelId="{702E2330-CF87-41A5-885A-385738411F36}" type="pres">
      <dgm:prSet presAssocID="{8B25FA69-9623-4434-BDF3-092BF962610C}" presName="spacer" presStyleCnt="0"/>
      <dgm:spPr/>
    </dgm:pt>
    <dgm:pt modelId="{7D27E92C-271D-4610-A210-51C263613BC5}" type="pres">
      <dgm:prSet presAssocID="{51807B09-BFB7-422A-A5AD-AC8F7FC28C24}" presName="parentText" presStyleLbl="node1" presStyleIdx="2" presStyleCnt="3">
        <dgm:presLayoutVars>
          <dgm:chMax val="0"/>
          <dgm:bulletEnabled val="1"/>
        </dgm:presLayoutVars>
      </dgm:prSet>
      <dgm:spPr/>
    </dgm:pt>
  </dgm:ptLst>
  <dgm:cxnLst>
    <dgm:cxn modelId="{69EF3D35-F785-4144-AFA5-96225BE720A6}" type="presOf" srcId="{DEE0A4A6-CABD-4642-BE1E-5E6F5FFEE21B}" destId="{287C7797-B1CC-4F1C-8847-DE5FAA58D2F6}" srcOrd="0" destOrd="0" presId="urn:microsoft.com/office/officeart/2005/8/layout/vList2"/>
    <dgm:cxn modelId="{414DCD64-26A0-4F3B-B5D4-0DFAE8E5358F}" type="presOf" srcId="{51807B09-BFB7-422A-A5AD-AC8F7FC28C24}" destId="{7D27E92C-271D-4610-A210-51C263613BC5}" srcOrd="0" destOrd="0" presId="urn:microsoft.com/office/officeart/2005/8/layout/vList2"/>
    <dgm:cxn modelId="{05D7B469-DA06-484B-802C-35E7C58AC9DF}" type="presOf" srcId="{517A86CC-C9F2-40E6-B5F1-9C4BDD13857D}" destId="{76E735FD-0E81-4A45-9447-31C588BDB5BF}" srcOrd="0" destOrd="0" presId="urn:microsoft.com/office/officeart/2005/8/layout/vList2"/>
    <dgm:cxn modelId="{5EA42758-7674-493C-8C3F-5CD289D6842F}" srcId="{DEE0A4A6-CABD-4642-BE1E-5E6F5FFEE21B}" destId="{4AB3F13A-F7FB-4BF3-B992-C3B71078F21C}" srcOrd="0" destOrd="0" parTransId="{6EC220F4-C270-4F2C-AADC-BC3EAB95792B}" sibTransId="{E2A8A26B-4B64-4714-8E34-D5481B184740}"/>
    <dgm:cxn modelId="{C52F1FD5-36E1-4A20-B1D7-C3CD50A91E38}" srcId="{DEE0A4A6-CABD-4642-BE1E-5E6F5FFEE21B}" destId="{517A86CC-C9F2-40E6-B5F1-9C4BDD13857D}" srcOrd="1" destOrd="0" parTransId="{E7551FC8-8A6E-4615-849F-A2F2BD990A52}" sibTransId="{8B25FA69-9623-4434-BDF3-092BF962610C}"/>
    <dgm:cxn modelId="{A8E78EF8-E759-425E-A5DB-F9953D5EDACC}" type="presOf" srcId="{4AB3F13A-F7FB-4BF3-B992-C3B71078F21C}" destId="{F9943CA0-FF78-4B7B-A7D5-A7BC404C4E41}" srcOrd="0" destOrd="0" presId="urn:microsoft.com/office/officeart/2005/8/layout/vList2"/>
    <dgm:cxn modelId="{8606B0FF-B22C-45FF-A01C-9B66F084F016}" srcId="{DEE0A4A6-CABD-4642-BE1E-5E6F5FFEE21B}" destId="{51807B09-BFB7-422A-A5AD-AC8F7FC28C24}" srcOrd="2" destOrd="0" parTransId="{1C556165-B374-4499-8CAF-ABF73EDE8514}" sibTransId="{06EBECCF-AA88-438B-AB2E-B85DAEBD87CB}"/>
    <dgm:cxn modelId="{8C24E217-3823-4FBA-87C1-A89D8FFDF4D6}" type="presParOf" srcId="{287C7797-B1CC-4F1C-8847-DE5FAA58D2F6}" destId="{F9943CA0-FF78-4B7B-A7D5-A7BC404C4E41}" srcOrd="0" destOrd="0" presId="urn:microsoft.com/office/officeart/2005/8/layout/vList2"/>
    <dgm:cxn modelId="{7DAC4EB9-2DB9-427E-B00F-A1FD90C607DA}" type="presParOf" srcId="{287C7797-B1CC-4F1C-8847-DE5FAA58D2F6}" destId="{ADCDE9F0-1296-4C30-B114-D1629A775CF8}" srcOrd="1" destOrd="0" presId="urn:microsoft.com/office/officeart/2005/8/layout/vList2"/>
    <dgm:cxn modelId="{FDAED9FB-6901-4DD2-848F-6FDEABEE9E34}" type="presParOf" srcId="{287C7797-B1CC-4F1C-8847-DE5FAA58D2F6}" destId="{76E735FD-0E81-4A45-9447-31C588BDB5BF}" srcOrd="2" destOrd="0" presId="urn:microsoft.com/office/officeart/2005/8/layout/vList2"/>
    <dgm:cxn modelId="{B4D2BA4A-A60C-4559-B9E3-7A1DF5FD23A1}" type="presParOf" srcId="{287C7797-B1CC-4F1C-8847-DE5FAA58D2F6}" destId="{702E2330-CF87-41A5-885A-385738411F36}" srcOrd="3" destOrd="0" presId="urn:microsoft.com/office/officeart/2005/8/layout/vList2"/>
    <dgm:cxn modelId="{C20E7C0B-824F-4014-895B-7D3A3600FBC4}" type="presParOf" srcId="{287C7797-B1CC-4F1C-8847-DE5FAA58D2F6}" destId="{7D27E92C-271D-4610-A210-51C263613BC5}"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9735434D-8175-438F-9E7C-5E40B38F2F74}"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344DD8C-EE3F-4EAF-84DD-918FA7CBD08A}">
      <dgm:prSet/>
      <dgm:spPr/>
      <dgm:t>
        <a:bodyPr/>
        <a:lstStyle/>
        <a:p>
          <a:r>
            <a:rPr lang="en-US"/>
            <a:t>A supervisor’s act is legally considered to be the act of the employer.</a:t>
          </a:r>
        </a:p>
      </dgm:t>
    </dgm:pt>
    <dgm:pt modelId="{77143339-2420-484A-A3CA-E6FA1B8BBA69}" type="parTrans" cxnId="{933D9AF3-6508-439F-8E3B-0E450407D321}">
      <dgm:prSet/>
      <dgm:spPr/>
      <dgm:t>
        <a:bodyPr/>
        <a:lstStyle/>
        <a:p>
          <a:endParaRPr lang="en-US"/>
        </a:p>
      </dgm:t>
    </dgm:pt>
    <dgm:pt modelId="{040F7EB7-FDC7-4936-BFE1-72C23B0364EA}" type="sibTrans" cxnId="{933D9AF3-6508-439F-8E3B-0E450407D321}">
      <dgm:prSet/>
      <dgm:spPr/>
      <dgm:t>
        <a:bodyPr/>
        <a:lstStyle/>
        <a:p>
          <a:endParaRPr lang="en-US"/>
        </a:p>
      </dgm:t>
    </dgm:pt>
    <dgm:pt modelId="{A66A2127-503A-4F5B-9F19-AFB0997B02E9}">
      <dgm:prSet/>
      <dgm:spPr/>
      <dgm:t>
        <a:bodyPr/>
        <a:lstStyle/>
        <a:p>
          <a:r>
            <a:rPr lang="en-US"/>
            <a:t>If the employer knew, or should have known, of the harassing conduct and failed to take corrective action. </a:t>
          </a:r>
        </a:p>
      </dgm:t>
    </dgm:pt>
    <dgm:pt modelId="{F593F067-53C9-454B-998C-894CE1967793}" type="parTrans" cxnId="{AA7EBF4D-C0DF-4486-8C1C-4FD6CF62B81C}">
      <dgm:prSet/>
      <dgm:spPr/>
      <dgm:t>
        <a:bodyPr/>
        <a:lstStyle/>
        <a:p>
          <a:endParaRPr lang="en-US"/>
        </a:p>
      </dgm:t>
    </dgm:pt>
    <dgm:pt modelId="{67239BEE-23D5-46CA-AB6E-661DC88D1D33}" type="sibTrans" cxnId="{AA7EBF4D-C0DF-4486-8C1C-4FD6CF62B81C}">
      <dgm:prSet/>
      <dgm:spPr/>
      <dgm:t>
        <a:bodyPr/>
        <a:lstStyle/>
        <a:p>
          <a:endParaRPr lang="en-US"/>
        </a:p>
      </dgm:t>
    </dgm:pt>
    <dgm:pt modelId="{921D80A6-FCDA-4265-BFA2-329684B14E02}">
      <dgm:prSet/>
      <dgm:spPr/>
      <dgm:t>
        <a:bodyPr/>
        <a:lstStyle/>
        <a:p>
          <a:r>
            <a:rPr lang="en-US"/>
            <a:t>Not taking complaints seriously or retaliation against a complainant</a:t>
          </a:r>
        </a:p>
      </dgm:t>
    </dgm:pt>
    <dgm:pt modelId="{39B5591E-6101-44E2-B780-7E06520BA6DC}" type="parTrans" cxnId="{868F4C7C-1DF7-4CF7-984B-BED698719C54}">
      <dgm:prSet/>
      <dgm:spPr/>
      <dgm:t>
        <a:bodyPr/>
        <a:lstStyle/>
        <a:p>
          <a:endParaRPr lang="en-US"/>
        </a:p>
      </dgm:t>
    </dgm:pt>
    <dgm:pt modelId="{57A59A30-ABD2-4E77-9A50-9DD96624C632}" type="sibTrans" cxnId="{868F4C7C-1DF7-4CF7-984B-BED698719C54}">
      <dgm:prSet/>
      <dgm:spPr/>
      <dgm:t>
        <a:bodyPr/>
        <a:lstStyle/>
        <a:p>
          <a:endParaRPr lang="en-US"/>
        </a:p>
      </dgm:t>
    </dgm:pt>
    <dgm:pt modelId="{4C35B7CE-7D93-4F29-9617-B3B38C7EE427}">
      <dgm:prSet/>
      <dgm:spPr/>
      <dgm:t>
        <a:bodyPr/>
        <a:lstStyle/>
        <a:p>
          <a:r>
            <a:rPr lang="en-US"/>
            <a:t>Liability may extend to off-premises activities, including at employer-sponsored off-site activities and during business travel</a:t>
          </a:r>
        </a:p>
      </dgm:t>
    </dgm:pt>
    <dgm:pt modelId="{46A2E18A-7D5D-4B8B-BCF8-B1BBC24772C7}" type="parTrans" cxnId="{A467C2CA-372B-4626-805F-9DD546AD1533}">
      <dgm:prSet/>
      <dgm:spPr/>
      <dgm:t>
        <a:bodyPr/>
        <a:lstStyle/>
        <a:p>
          <a:endParaRPr lang="en-US"/>
        </a:p>
      </dgm:t>
    </dgm:pt>
    <dgm:pt modelId="{BA9D0ACA-1B22-4422-BD16-81591AC82C28}" type="sibTrans" cxnId="{A467C2CA-372B-4626-805F-9DD546AD1533}">
      <dgm:prSet/>
      <dgm:spPr/>
      <dgm:t>
        <a:bodyPr/>
        <a:lstStyle/>
        <a:p>
          <a:endParaRPr lang="en-US"/>
        </a:p>
      </dgm:t>
    </dgm:pt>
    <dgm:pt modelId="{57AD2BCD-02E6-40A8-9D06-2B88C3384707}" type="pres">
      <dgm:prSet presAssocID="{9735434D-8175-438F-9E7C-5E40B38F2F74}" presName="root" presStyleCnt="0">
        <dgm:presLayoutVars>
          <dgm:dir/>
          <dgm:resizeHandles val="exact"/>
        </dgm:presLayoutVars>
      </dgm:prSet>
      <dgm:spPr/>
    </dgm:pt>
    <dgm:pt modelId="{A9F5C9C8-EF3A-4F5E-8ABE-15D258923A84}" type="pres">
      <dgm:prSet presAssocID="{9344DD8C-EE3F-4EAF-84DD-918FA7CBD08A}" presName="compNode" presStyleCnt="0"/>
      <dgm:spPr/>
    </dgm:pt>
    <dgm:pt modelId="{347B9480-2328-4ECB-B323-FE4977506F32}" type="pres">
      <dgm:prSet presAssocID="{9344DD8C-EE3F-4EAF-84DD-918FA7CBD08A}" presName="bgRect" presStyleLbl="bgShp" presStyleIdx="0" presStyleCnt="4"/>
      <dgm:spPr/>
    </dgm:pt>
    <dgm:pt modelId="{FD1AD7B2-D8BA-4F65-943B-444B99F695C2}" type="pres">
      <dgm:prSet presAssocID="{9344DD8C-EE3F-4EAF-84DD-918FA7CBD08A}"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Office Worker"/>
        </a:ext>
      </dgm:extLst>
    </dgm:pt>
    <dgm:pt modelId="{E0300E4F-CF54-48E8-B171-606CC5C6BDBC}" type="pres">
      <dgm:prSet presAssocID="{9344DD8C-EE3F-4EAF-84DD-918FA7CBD08A}" presName="spaceRect" presStyleCnt="0"/>
      <dgm:spPr/>
    </dgm:pt>
    <dgm:pt modelId="{144463F0-F635-44FD-80B9-026B447C18FB}" type="pres">
      <dgm:prSet presAssocID="{9344DD8C-EE3F-4EAF-84DD-918FA7CBD08A}" presName="parTx" presStyleLbl="revTx" presStyleIdx="0" presStyleCnt="4">
        <dgm:presLayoutVars>
          <dgm:chMax val="0"/>
          <dgm:chPref val="0"/>
        </dgm:presLayoutVars>
      </dgm:prSet>
      <dgm:spPr/>
    </dgm:pt>
    <dgm:pt modelId="{671F46B2-E6E9-4726-ABB7-6F585DB96836}" type="pres">
      <dgm:prSet presAssocID="{040F7EB7-FDC7-4936-BFE1-72C23B0364EA}" presName="sibTrans" presStyleCnt="0"/>
      <dgm:spPr/>
    </dgm:pt>
    <dgm:pt modelId="{425ECC18-A40C-4500-A937-7A59F2A161CC}" type="pres">
      <dgm:prSet presAssocID="{A66A2127-503A-4F5B-9F19-AFB0997B02E9}" presName="compNode" presStyleCnt="0"/>
      <dgm:spPr/>
    </dgm:pt>
    <dgm:pt modelId="{12FE1F19-E7F4-42B2-A0A1-AB10B28732A5}" type="pres">
      <dgm:prSet presAssocID="{A66A2127-503A-4F5B-9F19-AFB0997B02E9}" presName="bgRect" presStyleLbl="bgShp" presStyleIdx="1" presStyleCnt="4"/>
      <dgm:spPr/>
    </dgm:pt>
    <dgm:pt modelId="{E33C70A7-E5F3-46D0-B278-ECABBFABD1CE}" type="pres">
      <dgm:prSet presAssocID="{A66A2127-503A-4F5B-9F19-AFB0997B02E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E7B769C1-9D7E-4581-90DC-2CA937A694FC}" type="pres">
      <dgm:prSet presAssocID="{A66A2127-503A-4F5B-9F19-AFB0997B02E9}" presName="spaceRect" presStyleCnt="0"/>
      <dgm:spPr/>
    </dgm:pt>
    <dgm:pt modelId="{0A4194E1-E24E-438E-8C09-269AA18E7E9F}" type="pres">
      <dgm:prSet presAssocID="{A66A2127-503A-4F5B-9F19-AFB0997B02E9}" presName="parTx" presStyleLbl="revTx" presStyleIdx="1" presStyleCnt="4">
        <dgm:presLayoutVars>
          <dgm:chMax val="0"/>
          <dgm:chPref val="0"/>
        </dgm:presLayoutVars>
      </dgm:prSet>
      <dgm:spPr/>
    </dgm:pt>
    <dgm:pt modelId="{318A6248-0A55-49B2-94E4-5BFDC56F2554}" type="pres">
      <dgm:prSet presAssocID="{67239BEE-23D5-46CA-AB6E-661DC88D1D33}" presName="sibTrans" presStyleCnt="0"/>
      <dgm:spPr/>
    </dgm:pt>
    <dgm:pt modelId="{560997A4-85D9-4EA3-AA9A-CEBF7ACC6DBD}" type="pres">
      <dgm:prSet presAssocID="{921D80A6-FCDA-4265-BFA2-329684B14E02}" presName="compNode" presStyleCnt="0"/>
      <dgm:spPr/>
    </dgm:pt>
    <dgm:pt modelId="{4BB54B63-B351-49CE-A44C-22A427D8CEF4}" type="pres">
      <dgm:prSet presAssocID="{921D80A6-FCDA-4265-BFA2-329684B14E02}" presName="bgRect" presStyleLbl="bgShp" presStyleIdx="2" presStyleCnt="4"/>
      <dgm:spPr/>
    </dgm:pt>
    <dgm:pt modelId="{EC2EA97A-8A08-4A78-A86D-E5EFA5DC3E90}" type="pres">
      <dgm:prSet presAssocID="{921D80A6-FCDA-4265-BFA2-329684B14E02}"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No sign"/>
        </a:ext>
      </dgm:extLst>
    </dgm:pt>
    <dgm:pt modelId="{2D18E4FF-5366-436B-A309-4EE8A8AB8695}" type="pres">
      <dgm:prSet presAssocID="{921D80A6-FCDA-4265-BFA2-329684B14E02}" presName="spaceRect" presStyleCnt="0"/>
      <dgm:spPr/>
    </dgm:pt>
    <dgm:pt modelId="{05A80738-64D9-49E4-BFA6-F1C9174726E5}" type="pres">
      <dgm:prSet presAssocID="{921D80A6-FCDA-4265-BFA2-329684B14E02}" presName="parTx" presStyleLbl="revTx" presStyleIdx="2" presStyleCnt="4">
        <dgm:presLayoutVars>
          <dgm:chMax val="0"/>
          <dgm:chPref val="0"/>
        </dgm:presLayoutVars>
      </dgm:prSet>
      <dgm:spPr/>
    </dgm:pt>
    <dgm:pt modelId="{232F5568-EAF7-44CC-AB4E-467B6EC25AE6}" type="pres">
      <dgm:prSet presAssocID="{57A59A30-ABD2-4E77-9A50-9DD96624C632}" presName="sibTrans" presStyleCnt="0"/>
      <dgm:spPr/>
    </dgm:pt>
    <dgm:pt modelId="{7D769212-1E2B-4F7D-B1C9-F23985571618}" type="pres">
      <dgm:prSet presAssocID="{4C35B7CE-7D93-4F29-9617-B3B38C7EE427}" presName="compNode" presStyleCnt="0"/>
      <dgm:spPr/>
    </dgm:pt>
    <dgm:pt modelId="{578E97E6-BDCC-43FE-A351-0989684F5858}" type="pres">
      <dgm:prSet presAssocID="{4C35B7CE-7D93-4F29-9617-B3B38C7EE427}" presName="bgRect" presStyleLbl="bgShp" presStyleIdx="3" presStyleCnt="4"/>
      <dgm:spPr/>
    </dgm:pt>
    <dgm:pt modelId="{A42A9B8F-9A17-405D-9EA7-4E2EC63986CC}" type="pres">
      <dgm:prSet presAssocID="{4C35B7CE-7D93-4F29-9617-B3B38C7EE427}"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Gavel"/>
        </a:ext>
      </dgm:extLst>
    </dgm:pt>
    <dgm:pt modelId="{E98EC9B3-88DE-401F-A53D-7AC901B9D864}" type="pres">
      <dgm:prSet presAssocID="{4C35B7CE-7D93-4F29-9617-B3B38C7EE427}" presName="spaceRect" presStyleCnt="0"/>
      <dgm:spPr/>
    </dgm:pt>
    <dgm:pt modelId="{67C2EA64-31A6-40F4-BD3E-5CCAC0208B81}" type="pres">
      <dgm:prSet presAssocID="{4C35B7CE-7D93-4F29-9617-B3B38C7EE427}" presName="parTx" presStyleLbl="revTx" presStyleIdx="3" presStyleCnt="4">
        <dgm:presLayoutVars>
          <dgm:chMax val="0"/>
          <dgm:chPref val="0"/>
        </dgm:presLayoutVars>
      </dgm:prSet>
      <dgm:spPr/>
    </dgm:pt>
  </dgm:ptLst>
  <dgm:cxnLst>
    <dgm:cxn modelId="{FF6B2737-ECCA-45E8-8021-DF96ED6DB516}" type="presOf" srcId="{9344DD8C-EE3F-4EAF-84DD-918FA7CBD08A}" destId="{144463F0-F635-44FD-80B9-026B447C18FB}" srcOrd="0" destOrd="0" presId="urn:microsoft.com/office/officeart/2018/2/layout/IconVerticalSolidList"/>
    <dgm:cxn modelId="{385A6361-4B66-4C70-B158-5309BF2AF00D}" type="presOf" srcId="{A66A2127-503A-4F5B-9F19-AFB0997B02E9}" destId="{0A4194E1-E24E-438E-8C09-269AA18E7E9F}" srcOrd="0" destOrd="0" presId="urn:microsoft.com/office/officeart/2018/2/layout/IconVerticalSolidList"/>
    <dgm:cxn modelId="{AA7EBF4D-C0DF-4486-8C1C-4FD6CF62B81C}" srcId="{9735434D-8175-438F-9E7C-5E40B38F2F74}" destId="{A66A2127-503A-4F5B-9F19-AFB0997B02E9}" srcOrd="1" destOrd="0" parTransId="{F593F067-53C9-454B-998C-894CE1967793}" sibTransId="{67239BEE-23D5-46CA-AB6E-661DC88D1D33}"/>
    <dgm:cxn modelId="{9D38C073-4621-49B6-B425-D94728A81A91}" type="presOf" srcId="{921D80A6-FCDA-4265-BFA2-329684B14E02}" destId="{05A80738-64D9-49E4-BFA6-F1C9174726E5}" srcOrd="0" destOrd="0" presId="urn:microsoft.com/office/officeart/2018/2/layout/IconVerticalSolidList"/>
    <dgm:cxn modelId="{5A44C973-0B0E-4C9E-8A11-80B6292060E3}" type="presOf" srcId="{9735434D-8175-438F-9E7C-5E40B38F2F74}" destId="{57AD2BCD-02E6-40A8-9D06-2B88C3384707}" srcOrd="0" destOrd="0" presId="urn:microsoft.com/office/officeart/2018/2/layout/IconVerticalSolidList"/>
    <dgm:cxn modelId="{868F4C7C-1DF7-4CF7-984B-BED698719C54}" srcId="{9735434D-8175-438F-9E7C-5E40B38F2F74}" destId="{921D80A6-FCDA-4265-BFA2-329684B14E02}" srcOrd="2" destOrd="0" parTransId="{39B5591E-6101-44E2-B780-7E06520BA6DC}" sibTransId="{57A59A30-ABD2-4E77-9A50-9DD96624C632}"/>
    <dgm:cxn modelId="{2A8233AD-2C3F-40D7-AC83-0BA4AA93C8DB}" type="presOf" srcId="{4C35B7CE-7D93-4F29-9617-B3B38C7EE427}" destId="{67C2EA64-31A6-40F4-BD3E-5CCAC0208B81}" srcOrd="0" destOrd="0" presId="urn:microsoft.com/office/officeart/2018/2/layout/IconVerticalSolidList"/>
    <dgm:cxn modelId="{A467C2CA-372B-4626-805F-9DD546AD1533}" srcId="{9735434D-8175-438F-9E7C-5E40B38F2F74}" destId="{4C35B7CE-7D93-4F29-9617-B3B38C7EE427}" srcOrd="3" destOrd="0" parTransId="{46A2E18A-7D5D-4B8B-BCF8-B1BBC24772C7}" sibTransId="{BA9D0ACA-1B22-4422-BD16-81591AC82C28}"/>
    <dgm:cxn modelId="{933D9AF3-6508-439F-8E3B-0E450407D321}" srcId="{9735434D-8175-438F-9E7C-5E40B38F2F74}" destId="{9344DD8C-EE3F-4EAF-84DD-918FA7CBD08A}" srcOrd="0" destOrd="0" parTransId="{77143339-2420-484A-A3CA-E6FA1B8BBA69}" sibTransId="{040F7EB7-FDC7-4936-BFE1-72C23B0364EA}"/>
    <dgm:cxn modelId="{AC098397-ECD7-475D-AACF-229695336AE0}" type="presParOf" srcId="{57AD2BCD-02E6-40A8-9D06-2B88C3384707}" destId="{A9F5C9C8-EF3A-4F5E-8ABE-15D258923A84}" srcOrd="0" destOrd="0" presId="urn:microsoft.com/office/officeart/2018/2/layout/IconVerticalSolidList"/>
    <dgm:cxn modelId="{5C1DF38C-0AB7-4742-8BA4-C4A5886B268B}" type="presParOf" srcId="{A9F5C9C8-EF3A-4F5E-8ABE-15D258923A84}" destId="{347B9480-2328-4ECB-B323-FE4977506F32}" srcOrd="0" destOrd="0" presId="urn:microsoft.com/office/officeart/2018/2/layout/IconVerticalSolidList"/>
    <dgm:cxn modelId="{92A1F4C5-2E76-4BD2-9C14-AD4653D25406}" type="presParOf" srcId="{A9F5C9C8-EF3A-4F5E-8ABE-15D258923A84}" destId="{FD1AD7B2-D8BA-4F65-943B-444B99F695C2}" srcOrd="1" destOrd="0" presId="urn:microsoft.com/office/officeart/2018/2/layout/IconVerticalSolidList"/>
    <dgm:cxn modelId="{6D388A99-23CD-4973-B918-5C5990FC8F8F}" type="presParOf" srcId="{A9F5C9C8-EF3A-4F5E-8ABE-15D258923A84}" destId="{E0300E4F-CF54-48E8-B171-606CC5C6BDBC}" srcOrd="2" destOrd="0" presId="urn:microsoft.com/office/officeart/2018/2/layout/IconVerticalSolidList"/>
    <dgm:cxn modelId="{EA173667-65F7-40C3-9790-EFAE52E46204}" type="presParOf" srcId="{A9F5C9C8-EF3A-4F5E-8ABE-15D258923A84}" destId="{144463F0-F635-44FD-80B9-026B447C18FB}" srcOrd="3" destOrd="0" presId="urn:microsoft.com/office/officeart/2018/2/layout/IconVerticalSolidList"/>
    <dgm:cxn modelId="{AFE55B79-6895-4350-B5B6-D8A5221643D0}" type="presParOf" srcId="{57AD2BCD-02E6-40A8-9D06-2B88C3384707}" destId="{671F46B2-E6E9-4726-ABB7-6F585DB96836}" srcOrd="1" destOrd="0" presId="urn:microsoft.com/office/officeart/2018/2/layout/IconVerticalSolidList"/>
    <dgm:cxn modelId="{BFC887F3-DA68-46A9-B691-02485989B9CF}" type="presParOf" srcId="{57AD2BCD-02E6-40A8-9D06-2B88C3384707}" destId="{425ECC18-A40C-4500-A937-7A59F2A161CC}" srcOrd="2" destOrd="0" presId="urn:microsoft.com/office/officeart/2018/2/layout/IconVerticalSolidList"/>
    <dgm:cxn modelId="{3D19221F-2E70-404A-AA67-F404F5C023BB}" type="presParOf" srcId="{425ECC18-A40C-4500-A937-7A59F2A161CC}" destId="{12FE1F19-E7F4-42B2-A0A1-AB10B28732A5}" srcOrd="0" destOrd="0" presId="urn:microsoft.com/office/officeart/2018/2/layout/IconVerticalSolidList"/>
    <dgm:cxn modelId="{2930C62C-BBD4-40B1-B4CE-797AF591585B}" type="presParOf" srcId="{425ECC18-A40C-4500-A937-7A59F2A161CC}" destId="{E33C70A7-E5F3-46D0-B278-ECABBFABD1CE}" srcOrd="1" destOrd="0" presId="urn:microsoft.com/office/officeart/2018/2/layout/IconVerticalSolidList"/>
    <dgm:cxn modelId="{E2E7EE9C-969D-45D0-A3EB-938E2C8D3A2E}" type="presParOf" srcId="{425ECC18-A40C-4500-A937-7A59F2A161CC}" destId="{E7B769C1-9D7E-4581-90DC-2CA937A694FC}" srcOrd="2" destOrd="0" presId="urn:microsoft.com/office/officeart/2018/2/layout/IconVerticalSolidList"/>
    <dgm:cxn modelId="{944A32A8-A91B-4FE0-B4EA-B9D7561BEA5C}" type="presParOf" srcId="{425ECC18-A40C-4500-A937-7A59F2A161CC}" destId="{0A4194E1-E24E-438E-8C09-269AA18E7E9F}" srcOrd="3" destOrd="0" presId="urn:microsoft.com/office/officeart/2018/2/layout/IconVerticalSolidList"/>
    <dgm:cxn modelId="{7F2B14E4-318B-4B8E-8C76-E978254C0FC7}" type="presParOf" srcId="{57AD2BCD-02E6-40A8-9D06-2B88C3384707}" destId="{318A6248-0A55-49B2-94E4-5BFDC56F2554}" srcOrd="3" destOrd="0" presId="urn:microsoft.com/office/officeart/2018/2/layout/IconVerticalSolidList"/>
    <dgm:cxn modelId="{4E9B4A8E-6A28-4A53-8A3F-A19393A86710}" type="presParOf" srcId="{57AD2BCD-02E6-40A8-9D06-2B88C3384707}" destId="{560997A4-85D9-4EA3-AA9A-CEBF7ACC6DBD}" srcOrd="4" destOrd="0" presId="urn:microsoft.com/office/officeart/2018/2/layout/IconVerticalSolidList"/>
    <dgm:cxn modelId="{51B7629D-B49A-4694-B9FE-CD0BF4A6223D}" type="presParOf" srcId="{560997A4-85D9-4EA3-AA9A-CEBF7ACC6DBD}" destId="{4BB54B63-B351-49CE-A44C-22A427D8CEF4}" srcOrd="0" destOrd="0" presId="urn:microsoft.com/office/officeart/2018/2/layout/IconVerticalSolidList"/>
    <dgm:cxn modelId="{77B0F3B9-59BF-4927-9279-7300CCC100A2}" type="presParOf" srcId="{560997A4-85D9-4EA3-AA9A-CEBF7ACC6DBD}" destId="{EC2EA97A-8A08-4A78-A86D-E5EFA5DC3E90}" srcOrd="1" destOrd="0" presId="urn:microsoft.com/office/officeart/2018/2/layout/IconVerticalSolidList"/>
    <dgm:cxn modelId="{49047D3A-E5DA-45F3-9DB6-5064C4AC2888}" type="presParOf" srcId="{560997A4-85D9-4EA3-AA9A-CEBF7ACC6DBD}" destId="{2D18E4FF-5366-436B-A309-4EE8A8AB8695}" srcOrd="2" destOrd="0" presId="urn:microsoft.com/office/officeart/2018/2/layout/IconVerticalSolidList"/>
    <dgm:cxn modelId="{2BC718F1-ECB2-45E0-909C-B321B6DD1094}" type="presParOf" srcId="{560997A4-85D9-4EA3-AA9A-CEBF7ACC6DBD}" destId="{05A80738-64D9-49E4-BFA6-F1C9174726E5}" srcOrd="3" destOrd="0" presId="urn:microsoft.com/office/officeart/2018/2/layout/IconVerticalSolidList"/>
    <dgm:cxn modelId="{99F81DD5-90A1-4830-B1DA-837260705C97}" type="presParOf" srcId="{57AD2BCD-02E6-40A8-9D06-2B88C3384707}" destId="{232F5568-EAF7-44CC-AB4E-467B6EC25AE6}" srcOrd="5" destOrd="0" presId="urn:microsoft.com/office/officeart/2018/2/layout/IconVerticalSolidList"/>
    <dgm:cxn modelId="{E8DF21BD-7A8D-47A0-8B2B-F293ACA0ED94}" type="presParOf" srcId="{57AD2BCD-02E6-40A8-9D06-2B88C3384707}" destId="{7D769212-1E2B-4F7D-B1C9-F23985571618}" srcOrd="6" destOrd="0" presId="urn:microsoft.com/office/officeart/2018/2/layout/IconVerticalSolidList"/>
    <dgm:cxn modelId="{BFAD9744-FEDF-45CE-AD3A-FDB2EB7E51A8}" type="presParOf" srcId="{7D769212-1E2B-4F7D-B1C9-F23985571618}" destId="{578E97E6-BDCC-43FE-A351-0989684F5858}" srcOrd="0" destOrd="0" presId="urn:microsoft.com/office/officeart/2018/2/layout/IconVerticalSolidList"/>
    <dgm:cxn modelId="{9D1DF413-4540-477D-BA0E-9978147B0C88}" type="presParOf" srcId="{7D769212-1E2B-4F7D-B1C9-F23985571618}" destId="{A42A9B8F-9A17-405D-9EA7-4E2EC63986CC}" srcOrd="1" destOrd="0" presId="urn:microsoft.com/office/officeart/2018/2/layout/IconVerticalSolidList"/>
    <dgm:cxn modelId="{EC3C9466-717D-49B4-8366-EA4B9C9B0BC6}" type="presParOf" srcId="{7D769212-1E2B-4F7D-B1C9-F23985571618}" destId="{E98EC9B3-88DE-401F-A53D-7AC901B9D864}" srcOrd="2" destOrd="0" presId="urn:microsoft.com/office/officeart/2018/2/layout/IconVerticalSolidList"/>
    <dgm:cxn modelId="{CDB89A10-6902-40D9-A30C-5D8111447474}" type="presParOf" srcId="{7D769212-1E2B-4F7D-B1C9-F23985571618}" destId="{67C2EA64-31A6-40F4-BD3E-5CCAC0208B8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FCD096-5953-4151-ADAC-4BFF1C9B965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F40B8A6-8F95-4D0B-8091-2450092A1A44}">
      <dgm:prSet custT="1"/>
      <dgm:spPr/>
      <dgm:t>
        <a:bodyPr/>
        <a:lstStyle/>
        <a:p>
          <a:r>
            <a:rPr lang="en-US" sz="2400" b="0" i="0" dirty="0"/>
            <a:t>Employee is subject to unwelcome sexual conduct</a:t>
          </a:r>
          <a:endParaRPr lang="en-US" sz="2400" dirty="0"/>
        </a:p>
      </dgm:t>
    </dgm:pt>
    <dgm:pt modelId="{F0B349DE-2FBB-4EF2-B7EA-F7CD2B46D31B}" type="parTrans" cxnId="{F7622EF9-284B-4E2B-8564-2FF0CC83880E}">
      <dgm:prSet/>
      <dgm:spPr/>
      <dgm:t>
        <a:bodyPr/>
        <a:lstStyle/>
        <a:p>
          <a:endParaRPr lang="en-US"/>
        </a:p>
      </dgm:t>
    </dgm:pt>
    <dgm:pt modelId="{5FF6BA0F-0BAC-4AF0-B655-BE4B35F8DCDD}" type="sibTrans" cxnId="{F7622EF9-284B-4E2B-8564-2FF0CC83880E}">
      <dgm:prSet/>
      <dgm:spPr/>
      <dgm:t>
        <a:bodyPr/>
        <a:lstStyle/>
        <a:p>
          <a:endParaRPr lang="en-US"/>
        </a:p>
      </dgm:t>
    </dgm:pt>
    <dgm:pt modelId="{FE4AF3E3-8D72-4702-8FE4-9DB7C2BA1AB6}">
      <dgm:prSet custT="1"/>
      <dgm:spPr/>
      <dgm:t>
        <a:bodyPr/>
        <a:lstStyle/>
        <a:p>
          <a:r>
            <a:rPr lang="en-US" sz="2400" b="0" i="0" dirty="0"/>
            <a:t>Produces inferior terms and conditions of employment </a:t>
          </a:r>
          <a:endParaRPr lang="en-US" sz="2400" dirty="0"/>
        </a:p>
      </dgm:t>
    </dgm:pt>
    <dgm:pt modelId="{DD9E7C0F-EB45-4CA6-ADCF-B65C23B9CF05}" type="parTrans" cxnId="{34695565-DD90-47F3-A779-B5372E594B41}">
      <dgm:prSet/>
      <dgm:spPr/>
      <dgm:t>
        <a:bodyPr/>
        <a:lstStyle/>
        <a:p>
          <a:endParaRPr lang="en-US"/>
        </a:p>
      </dgm:t>
    </dgm:pt>
    <dgm:pt modelId="{7CB1592C-7A50-4F86-88EC-68F0A3DDD513}" type="sibTrans" cxnId="{34695565-DD90-47F3-A779-B5372E594B41}">
      <dgm:prSet/>
      <dgm:spPr/>
      <dgm:t>
        <a:bodyPr/>
        <a:lstStyle/>
        <a:p>
          <a:endParaRPr lang="en-US"/>
        </a:p>
      </dgm:t>
    </dgm:pt>
    <dgm:pt modelId="{5C6DBE0E-1F4A-408B-86A4-66252421B7F0}">
      <dgm:prSet custT="1"/>
      <dgm:spPr/>
      <dgm:t>
        <a:bodyPr/>
        <a:lstStyle/>
        <a:p>
          <a:r>
            <a:rPr lang="en-US" sz="2400" b="0" i="0"/>
            <a:t>Unreasonably interferes with performance or creates an intimidating, hostile, or offensive work environment</a:t>
          </a:r>
          <a:endParaRPr lang="en-US" sz="2400"/>
        </a:p>
      </dgm:t>
    </dgm:pt>
    <dgm:pt modelId="{62853B48-71AE-4EBA-8B11-EC5476133DFD}" type="parTrans" cxnId="{A5779CAA-2D6A-41BB-AE9B-68A4412D4108}">
      <dgm:prSet/>
      <dgm:spPr/>
      <dgm:t>
        <a:bodyPr/>
        <a:lstStyle/>
        <a:p>
          <a:endParaRPr lang="en-US"/>
        </a:p>
      </dgm:t>
    </dgm:pt>
    <dgm:pt modelId="{814E6352-A652-4E6C-882F-D0FDA9127598}" type="sibTrans" cxnId="{A5779CAA-2D6A-41BB-AE9B-68A4412D4108}">
      <dgm:prSet/>
      <dgm:spPr/>
      <dgm:t>
        <a:bodyPr/>
        <a:lstStyle/>
        <a:p>
          <a:endParaRPr lang="en-US"/>
        </a:p>
      </dgm:t>
    </dgm:pt>
    <dgm:pt modelId="{C06D7F96-1EA3-43E8-93B3-52E43ACEC0DC}" type="pres">
      <dgm:prSet presAssocID="{A1FCD096-5953-4151-ADAC-4BFF1C9B9655}" presName="linear" presStyleCnt="0">
        <dgm:presLayoutVars>
          <dgm:animLvl val="lvl"/>
          <dgm:resizeHandles val="exact"/>
        </dgm:presLayoutVars>
      </dgm:prSet>
      <dgm:spPr/>
    </dgm:pt>
    <dgm:pt modelId="{5E0E77E2-A8FD-4202-9C0A-429CE6CF0B91}" type="pres">
      <dgm:prSet presAssocID="{9F40B8A6-8F95-4D0B-8091-2450092A1A44}" presName="parentText" presStyleLbl="node1" presStyleIdx="0" presStyleCnt="3">
        <dgm:presLayoutVars>
          <dgm:chMax val="0"/>
          <dgm:bulletEnabled val="1"/>
        </dgm:presLayoutVars>
      </dgm:prSet>
      <dgm:spPr/>
    </dgm:pt>
    <dgm:pt modelId="{E46106EE-9373-4BD1-B986-257AF0E6475B}" type="pres">
      <dgm:prSet presAssocID="{5FF6BA0F-0BAC-4AF0-B655-BE4B35F8DCDD}" presName="spacer" presStyleCnt="0"/>
      <dgm:spPr/>
    </dgm:pt>
    <dgm:pt modelId="{E5FD5710-6FEC-4EF3-8187-A662CFE549A7}" type="pres">
      <dgm:prSet presAssocID="{FE4AF3E3-8D72-4702-8FE4-9DB7C2BA1AB6}" presName="parentText" presStyleLbl="node1" presStyleIdx="1" presStyleCnt="3">
        <dgm:presLayoutVars>
          <dgm:chMax val="0"/>
          <dgm:bulletEnabled val="1"/>
        </dgm:presLayoutVars>
      </dgm:prSet>
      <dgm:spPr/>
    </dgm:pt>
    <dgm:pt modelId="{77A5EFB3-AEDA-4DD7-9CA1-5139AC5B12DB}" type="pres">
      <dgm:prSet presAssocID="{7CB1592C-7A50-4F86-88EC-68F0A3DDD513}" presName="spacer" presStyleCnt="0"/>
      <dgm:spPr/>
    </dgm:pt>
    <dgm:pt modelId="{42C5A571-605F-4B57-BC60-19BB11CDD168}" type="pres">
      <dgm:prSet presAssocID="{5C6DBE0E-1F4A-408B-86A4-66252421B7F0}" presName="parentText" presStyleLbl="node1" presStyleIdx="2" presStyleCnt="3">
        <dgm:presLayoutVars>
          <dgm:chMax val="0"/>
          <dgm:bulletEnabled val="1"/>
        </dgm:presLayoutVars>
      </dgm:prSet>
      <dgm:spPr/>
    </dgm:pt>
  </dgm:ptLst>
  <dgm:cxnLst>
    <dgm:cxn modelId="{DDEC0015-B469-4806-B939-206E3681DB76}" type="presOf" srcId="{5C6DBE0E-1F4A-408B-86A4-66252421B7F0}" destId="{42C5A571-605F-4B57-BC60-19BB11CDD168}" srcOrd="0" destOrd="0" presId="urn:microsoft.com/office/officeart/2005/8/layout/vList2"/>
    <dgm:cxn modelId="{34695565-DD90-47F3-A779-B5372E594B41}" srcId="{A1FCD096-5953-4151-ADAC-4BFF1C9B9655}" destId="{FE4AF3E3-8D72-4702-8FE4-9DB7C2BA1AB6}" srcOrd="1" destOrd="0" parTransId="{DD9E7C0F-EB45-4CA6-ADCF-B65C23B9CF05}" sibTransId="{7CB1592C-7A50-4F86-88EC-68F0A3DDD513}"/>
    <dgm:cxn modelId="{3D44AD45-B69D-47FF-BDB0-D740579D4689}" type="presOf" srcId="{FE4AF3E3-8D72-4702-8FE4-9DB7C2BA1AB6}" destId="{E5FD5710-6FEC-4EF3-8187-A662CFE549A7}" srcOrd="0" destOrd="0" presId="urn:microsoft.com/office/officeart/2005/8/layout/vList2"/>
    <dgm:cxn modelId="{51B5108F-A30B-4930-BEB8-55E5904743C6}" type="presOf" srcId="{A1FCD096-5953-4151-ADAC-4BFF1C9B9655}" destId="{C06D7F96-1EA3-43E8-93B3-52E43ACEC0DC}" srcOrd="0" destOrd="0" presId="urn:microsoft.com/office/officeart/2005/8/layout/vList2"/>
    <dgm:cxn modelId="{CD389E9D-7A0C-4041-AEF1-7F04FF577675}" type="presOf" srcId="{9F40B8A6-8F95-4D0B-8091-2450092A1A44}" destId="{5E0E77E2-A8FD-4202-9C0A-429CE6CF0B91}" srcOrd="0" destOrd="0" presId="urn:microsoft.com/office/officeart/2005/8/layout/vList2"/>
    <dgm:cxn modelId="{A5779CAA-2D6A-41BB-AE9B-68A4412D4108}" srcId="{A1FCD096-5953-4151-ADAC-4BFF1C9B9655}" destId="{5C6DBE0E-1F4A-408B-86A4-66252421B7F0}" srcOrd="2" destOrd="0" parTransId="{62853B48-71AE-4EBA-8B11-EC5476133DFD}" sibTransId="{814E6352-A652-4E6C-882F-D0FDA9127598}"/>
    <dgm:cxn modelId="{F7622EF9-284B-4E2B-8564-2FF0CC83880E}" srcId="{A1FCD096-5953-4151-ADAC-4BFF1C9B9655}" destId="{9F40B8A6-8F95-4D0B-8091-2450092A1A44}" srcOrd="0" destOrd="0" parTransId="{F0B349DE-2FBB-4EF2-B7EA-F7CD2B46D31B}" sibTransId="{5FF6BA0F-0BAC-4AF0-B655-BE4B35F8DCDD}"/>
    <dgm:cxn modelId="{6960FF9C-E36B-4BCE-8C43-D3DF0F78C6B6}" type="presParOf" srcId="{C06D7F96-1EA3-43E8-93B3-52E43ACEC0DC}" destId="{5E0E77E2-A8FD-4202-9C0A-429CE6CF0B91}" srcOrd="0" destOrd="0" presId="urn:microsoft.com/office/officeart/2005/8/layout/vList2"/>
    <dgm:cxn modelId="{C250B617-FC90-4793-B754-3CFD05938C38}" type="presParOf" srcId="{C06D7F96-1EA3-43E8-93B3-52E43ACEC0DC}" destId="{E46106EE-9373-4BD1-B986-257AF0E6475B}" srcOrd="1" destOrd="0" presId="urn:microsoft.com/office/officeart/2005/8/layout/vList2"/>
    <dgm:cxn modelId="{73ADCED2-0404-49A0-8593-62BA32B79E03}" type="presParOf" srcId="{C06D7F96-1EA3-43E8-93B3-52E43ACEC0DC}" destId="{E5FD5710-6FEC-4EF3-8187-A662CFE549A7}" srcOrd="2" destOrd="0" presId="urn:microsoft.com/office/officeart/2005/8/layout/vList2"/>
    <dgm:cxn modelId="{C41C1133-C7DD-424F-A882-441A700D5EB6}" type="presParOf" srcId="{C06D7F96-1EA3-43E8-93B3-52E43ACEC0DC}" destId="{77A5EFB3-AEDA-4DD7-9CA1-5139AC5B12DB}" srcOrd="3" destOrd="0" presId="urn:microsoft.com/office/officeart/2005/8/layout/vList2"/>
    <dgm:cxn modelId="{1D7DC485-0A1B-4F40-948F-F4BF4F2C001D}" type="presParOf" srcId="{C06D7F96-1EA3-43E8-93B3-52E43ACEC0DC}" destId="{42C5A571-605F-4B57-BC60-19BB11CDD16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1EEECA-A681-4794-8CC0-17444DFB33C4}" type="doc">
      <dgm:prSet loTypeId="urn:microsoft.com/office/officeart/2005/8/layout/matrix3" loCatId="matrix" qsTypeId="urn:microsoft.com/office/officeart/2005/8/quickstyle/simple1" qsCatId="simple" csTypeId="urn:microsoft.com/office/officeart/2005/8/colors/accent2_2" csCatId="accent2"/>
      <dgm:spPr/>
      <dgm:t>
        <a:bodyPr/>
        <a:lstStyle/>
        <a:p>
          <a:endParaRPr lang="en-US"/>
        </a:p>
      </dgm:t>
    </dgm:pt>
    <dgm:pt modelId="{24BD3795-A877-412C-92F5-7A7E5B99A3CC}">
      <dgm:prSet/>
      <dgm:spPr/>
      <dgm:t>
        <a:bodyPr/>
        <a:lstStyle/>
        <a:p>
          <a:r>
            <a:rPr lang="en-US" b="0" i="0"/>
            <a:t>Unwelcome </a:t>
          </a:r>
          <a:endParaRPr lang="en-US"/>
        </a:p>
      </dgm:t>
    </dgm:pt>
    <dgm:pt modelId="{C338C885-C00E-4A06-9E0F-4463CE9DC692}" type="parTrans" cxnId="{133E3EFF-0327-4DE5-ABD8-E152C0CB4804}">
      <dgm:prSet/>
      <dgm:spPr/>
      <dgm:t>
        <a:bodyPr/>
        <a:lstStyle/>
        <a:p>
          <a:endParaRPr lang="en-US"/>
        </a:p>
      </dgm:t>
    </dgm:pt>
    <dgm:pt modelId="{035100AB-05EA-4C36-A674-84459B5E013D}" type="sibTrans" cxnId="{133E3EFF-0327-4DE5-ABD8-E152C0CB4804}">
      <dgm:prSet/>
      <dgm:spPr/>
      <dgm:t>
        <a:bodyPr/>
        <a:lstStyle/>
        <a:p>
          <a:endParaRPr lang="en-US"/>
        </a:p>
      </dgm:t>
    </dgm:pt>
    <dgm:pt modelId="{6F4696E5-16DA-48C8-85B7-D2E538EBF2BF}">
      <dgm:prSet/>
      <dgm:spPr/>
      <dgm:t>
        <a:bodyPr/>
        <a:lstStyle/>
        <a:p>
          <a:r>
            <a:rPr lang="en-US" b="0" i="0" dirty="0"/>
            <a:t>Based upon sex</a:t>
          </a:r>
          <a:endParaRPr lang="en-US" dirty="0"/>
        </a:p>
      </dgm:t>
    </dgm:pt>
    <dgm:pt modelId="{8E49FF67-E00F-499F-87EA-E361D433799C}" type="parTrans" cxnId="{30D44DA3-22AF-474A-B1BF-CAE30682E6A7}">
      <dgm:prSet/>
      <dgm:spPr/>
      <dgm:t>
        <a:bodyPr/>
        <a:lstStyle/>
        <a:p>
          <a:endParaRPr lang="en-US"/>
        </a:p>
      </dgm:t>
    </dgm:pt>
    <dgm:pt modelId="{AB1EF098-DDCB-4B6A-905C-2A06465E8DF5}" type="sibTrans" cxnId="{30D44DA3-22AF-474A-B1BF-CAE30682E6A7}">
      <dgm:prSet/>
      <dgm:spPr/>
      <dgm:t>
        <a:bodyPr/>
        <a:lstStyle/>
        <a:p>
          <a:endParaRPr lang="en-US"/>
        </a:p>
      </dgm:t>
    </dgm:pt>
    <dgm:pt modelId="{EBAEEA92-0AAD-4D32-B84B-3805C1FE6B4C}">
      <dgm:prSet/>
      <dgm:spPr/>
      <dgm:t>
        <a:bodyPr/>
        <a:lstStyle/>
        <a:p>
          <a:r>
            <a:rPr lang="en-US" b="0" i="0"/>
            <a:t>Interferes with work performance, OR creates an intimidating, hostile, or offensive work environment</a:t>
          </a:r>
          <a:endParaRPr lang="en-US"/>
        </a:p>
      </dgm:t>
    </dgm:pt>
    <dgm:pt modelId="{985F3524-B6B4-4EC1-90AB-FA714EABC3E0}" type="parTrans" cxnId="{B26F9FE6-ACD9-4544-94C0-7B8BAD2C3CC7}">
      <dgm:prSet/>
      <dgm:spPr/>
      <dgm:t>
        <a:bodyPr/>
        <a:lstStyle/>
        <a:p>
          <a:endParaRPr lang="en-US"/>
        </a:p>
      </dgm:t>
    </dgm:pt>
    <dgm:pt modelId="{BB5BB20D-845C-476B-A072-376C058AFDF8}" type="sibTrans" cxnId="{B26F9FE6-ACD9-4544-94C0-7B8BAD2C3CC7}">
      <dgm:prSet/>
      <dgm:spPr/>
      <dgm:t>
        <a:bodyPr/>
        <a:lstStyle/>
        <a:p>
          <a:endParaRPr lang="en-US"/>
        </a:p>
      </dgm:t>
    </dgm:pt>
    <dgm:pt modelId="{2BB527EF-9A99-4A34-BAF5-0052D99251FD}">
      <dgm:prSet/>
      <dgm:spPr/>
      <dgm:t>
        <a:bodyPr/>
        <a:lstStyle/>
        <a:p>
          <a:r>
            <a:rPr lang="en-US" b="0" i="0"/>
            <a:t>A basis for holding the employer responsible</a:t>
          </a:r>
          <a:endParaRPr lang="en-US"/>
        </a:p>
      </dgm:t>
    </dgm:pt>
    <dgm:pt modelId="{21F6F088-E9A7-40C0-9878-09E192BA0BEF}" type="parTrans" cxnId="{30F2C891-C0F7-4F66-8294-A2F23A4BB61F}">
      <dgm:prSet/>
      <dgm:spPr/>
      <dgm:t>
        <a:bodyPr/>
        <a:lstStyle/>
        <a:p>
          <a:endParaRPr lang="en-US"/>
        </a:p>
      </dgm:t>
    </dgm:pt>
    <dgm:pt modelId="{CDAE136F-EC18-497E-8A6C-873BEC374C82}" type="sibTrans" cxnId="{30F2C891-C0F7-4F66-8294-A2F23A4BB61F}">
      <dgm:prSet/>
      <dgm:spPr/>
      <dgm:t>
        <a:bodyPr/>
        <a:lstStyle/>
        <a:p>
          <a:endParaRPr lang="en-US"/>
        </a:p>
      </dgm:t>
    </dgm:pt>
    <dgm:pt modelId="{8C4EC287-7F6D-4A80-8C65-71B2A6951B9F}" type="pres">
      <dgm:prSet presAssocID="{EA1EEECA-A681-4794-8CC0-17444DFB33C4}" presName="matrix" presStyleCnt="0">
        <dgm:presLayoutVars>
          <dgm:chMax val="1"/>
          <dgm:dir/>
          <dgm:resizeHandles val="exact"/>
        </dgm:presLayoutVars>
      </dgm:prSet>
      <dgm:spPr/>
    </dgm:pt>
    <dgm:pt modelId="{779D09F1-13EA-4844-8F72-BE1E7299F9FA}" type="pres">
      <dgm:prSet presAssocID="{EA1EEECA-A681-4794-8CC0-17444DFB33C4}" presName="diamond" presStyleLbl="bgShp" presStyleIdx="0" presStyleCnt="1"/>
      <dgm:spPr/>
    </dgm:pt>
    <dgm:pt modelId="{1B6A5C2D-B33C-45BA-AF2B-B8ED9ACAA529}" type="pres">
      <dgm:prSet presAssocID="{EA1EEECA-A681-4794-8CC0-17444DFB33C4}" presName="quad1" presStyleLbl="node1" presStyleIdx="0" presStyleCnt="4">
        <dgm:presLayoutVars>
          <dgm:chMax val="0"/>
          <dgm:chPref val="0"/>
          <dgm:bulletEnabled val="1"/>
        </dgm:presLayoutVars>
      </dgm:prSet>
      <dgm:spPr/>
    </dgm:pt>
    <dgm:pt modelId="{22282617-0EBA-4104-9159-98764B60887A}" type="pres">
      <dgm:prSet presAssocID="{EA1EEECA-A681-4794-8CC0-17444DFB33C4}" presName="quad2" presStyleLbl="node1" presStyleIdx="1" presStyleCnt="4">
        <dgm:presLayoutVars>
          <dgm:chMax val="0"/>
          <dgm:chPref val="0"/>
          <dgm:bulletEnabled val="1"/>
        </dgm:presLayoutVars>
      </dgm:prSet>
      <dgm:spPr/>
    </dgm:pt>
    <dgm:pt modelId="{2464BA47-0FD6-4E8D-A85A-32A8593A119C}" type="pres">
      <dgm:prSet presAssocID="{EA1EEECA-A681-4794-8CC0-17444DFB33C4}" presName="quad3" presStyleLbl="node1" presStyleIdx="2" presStyleCnt="4">
        <dgm:presLayoutVars>
          <dgm:chMax val="0"/>
          <dgm:chPref val="0"/>
          <dgm:bulletEnabled val="1"/>
        </dgm:presLayoutVars>
      </dgm:prSet>
      <dgm:spPr/>
    </dgm:pt>
    <dgm:pt modelId="{C9F6DA6F-B5F0-4449-8600-005041FEDB00}" type="pres">
      <dgm:prSet presAssocID="{EA1EEECA-A681-4794-8CC0-17444DFB33C4}" presName="quad4" presStyleLbl="node1" presStyleIdx="3" presStyleCnt="4">
        <dgm:presLayoutVars>
          <dgm:chMax val="0"/>
          <dgm:chPref val="0"/>
          <dgm:bulletEnabled val="1"/>
        </dgm:presLayoutVars>
      </dgm:prSet>
      <dgm:spPr/>
    </dgm:pt>
  </dgm:ptLst>
  <dgm:cxnLst>
    <dgm:cxn modelId="{30F2C891-C0F7-4F66-8294-A2F23A4BB61F}" srcId="{EA1EEECA-A681-4794-8CC0-17444DFB33C4}" destId="{2BB527EF-9A99-4A34-BAF5-0052D99251FD}" srcOrd="3" destOrd="0" parTransId="{21F6F088-E9A7-40C0-9878-09E192BA0BEF}" sibTransId="{CDAE136F-EC18-497E-8A6C-873BEC374C82}"/>
    <dgm:cxn modelId="{8A280893-49ED-4691-B798-BEEF74BC735E}" type="presOf" srcId="{EA1EEECA-A681-4794-8CC0-17444DFB33C4}" destId="{8C4EC287-7F6D-4A80-8C65-71B2A6951B9F}" srcOrd="0" destOrd="0" presId="urn:microsoft.com/office/officeart/2005/8/layout/matrix3"/>
    <dgm:cxn modelId="{30D44DA3-22AF-474A-B1BF-CAE30682E6A7}" srcId="{EA1EEECA-A681-4794-8CC0-17444DFB33C4}" destId="{6F4696E5-16DA-48C8-85B7-D2E538EBF2BF}" srcOrd="1" destOrd="0" parTransId="{8E49FF67-E00F-499F-87EA-E361D433799C}" sibTransId="{AB1EF098-DDCB-4B6A-905C-2A06465E8DF5}"/>
    <dgm:cxn modelId="{A82580BE-401C-4890-95A9-2A472DB02459}" type="presOf" srcId="{2BB527EF-9A99-4A34-BAF5-0052D99251FD}" destId="{C9F6DA6F-B5F0-4449-8600-005041FEDB00}" srcOrd="0" destOrd="0" presId="urn:microsoft.com/office/officeart/2005/8/layout/matrix3"/>
    <dgm:cxn modelId="{646B36D0-6EEA-49EA-BD48-CFA131917DAB}" type="presOf" srcId="{6F4696E5-16DA-48C8-85B7-D2E538EBF2BF}" destId="{22282617-0EBA-4104-9159-98764B60887A}" srcOrd="0" destOrd="0" presId="urn:microsoft.com/office/officeart/2005/8/layout/matrix3"/>
    <dgm:cxn modelId="{054C65D6-8521-4CB5-BE68-839DF2712864}" type="presOf" srcId="{EBAEEA92-0AAD-4D32-B84B-3805C1FE6B4C}" destId="{2464BA47-0FD6-4E8D-A85A-32A8593A119C}" srcOrd="0" destOrd="0" presId="urn:microsoft.com/office/officeart/2005/8/layout/matrix3"/>
    <dgm:cxn modelId="{B26F9FE6-ACD9-4544-94C0-7B8BAD2C3CC7}" srcId="{EA1EEECA-A681-4794-8CC0-17444DFB33C4}" destId="{EBAEEA92-0AAD-4D32-B84B-3805C1FE6B4C}" srcOrd="2" destOrd="0" parTransId="{985F3524-B6B4-4EC1-90AB-FA714EABC3E0}" sibTransId="{BB5BB20D-845C-476B-A072-376C058AFDF8}"/>
    <dgm:cxn modelId="{140242EB-683B-46F7-A879-CAA2862ED7C4}" type="presOf" srcId="{24BD3795-A877-412C-92F5-7A7E5B99A3CC}" destId="{1B6A5C2D-B33C-45BA-AF2B-B8ED9ACAA529}" srcOrd="0" destOrd="0" presId="urn:microsoft.com/office/officeart/2005/8/layout/matrix3"/>
    <dgm:cxn modelId="{133E3EFF-0327-4DE5-ABD8-E152C0CB4804}" srcId="{EA1EEECA-A681-4794-8CC0-17444DFB33C4}" destId="{24BD3795-A877-412C-92F5-7A7E5B99A3CC}" srcOrd="0" destOrd="0" parTransId="{C338C885-C00E-4A06-9E0F-4463CE9DC692}" sibTransId="{035100AB-05EA-4C36-A674-84459B5E013D}"/>
    <dgm:cxn modelId="{0628B394-FC0B-4C05-9AF9-476D0531597B}" type="presParOf" srcId="{8C4EC287-7F6D-4A80-8C65-71B2A6951B9F}" destId="{779D09F1-13EA-4844-8F72-BE1E7299F9FA}" srcOrd="0" destOrd="0" presId="urn:microsoft.com/office/officeart/2005/8/layout/matrix3"/>
    <dgm:cxn modelId="{3CD00717-970B-417F-B53A-661712DF6876}" type="presParOf" srcId="{8C4EC287-7F6D-4A80-8C65-71B2A6951B9F}" destId="{1B6A5C2D-B33C-45BA-AF2B-B8ED9ACAA529}" srcOrd="1" destOrd="0" presId="urn:microsoft.com/office/officeart/2005/8/layout/matrix3"/>
    <dgm:cxn modelId="{FB677E13-0080-45B0-A7D8-FA2F295482C9}" type="presParOf" srcId="{8C4EC287-7F6D-4A80-8C65-71B2A6951B9F}" destId="{22282617-0EBA-4104-9159-98764B60887A}" srcOrd="2" destOrd="0" presId="urn:microsoft.com/office/officeart/2005/8/layout/matrix3"/>
    <dgm:cxn modelId="{71C95F10-1106-4F43-B5CB-7A715E0ABBF1}" type="presParOf" srcId="{8C4EC287-7F6D-4A80-8C65-71B2A6951B9F}" destId="{2464BA47-0FD6-4E8D-A85A-32A8593A119C}" srcOrd="3" destOrd="0" presId="urn:microsoft.com/office/officeart/2005/8/layout/matrix3"/>
    <dgm:cxn modelId="{A51C2059-C256-41BC-8E66-8F373396C376}" type="presParOf" srcId="{8C4EC287-7F6D-4A80-8C65-71B2A6951B9F}" destId="{C9F6DA6F-B5F0-4449-8600-005041FEDB00}"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AC629AC-7C5A-4921-91BE-9E6A49FA2F32}"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en-US"/>
        </a:p>
      </dgm:t>
    </dgm:pt>
    <dgm:pt modelId="{81F8F375-3F0B-4836-8752-AD61D2DDC3A1}">
      <dgm:prSet custT="1"/>
      <dgm:spPr/>
      <dgm:t>
        <a:bodyPr/>
        <a:lstStyle/>
        <a:p>
          <a:r>
            <a:rPr lang="en-US" sz="2400" b="0" i="0" dirty="0"/>
            <a:t>When a </a:t>
          </a:r>
          <a:r>
            <a:rPr lang="en-US" sz="2400" b="0" i="0" u="sng" dirty="0"/>
            <a:t>supervisor</a:t>
          </a:r>
          <a:r>
            <a:rPr lang="en-US" sz="2400" b="0" i="0" dirty="0"/>
            <a:t> conditions employment or employment-related opportunities on the employee’s willingness to submit to or tolerate sexual advances</a:t>
          </a:r>
          <a:r>
            <a:rPr lang="en-US" sz="2700" b="0" i="0" dirty="0"/>
            <a:t>. </a:t>
          </a:r>
          <a:endParaRPr lang="en-US" sz="2700" dirty="0"/>
        </a:p>
      </dgm:t>
    </dgm:pt>
    <dgm:pt modelId="{7B793398-E760-4900-B5D6-77239984E9E0}" type="parTrans" cxnId="{65BFE3E6-5607-4C54-9EAD-FFFEF506C22A}">
      <dgm:prSet/>
      <dgm:spPr/>
      <dgm:t>
        <a:bodyPr/>
        <a:lstStyle/>
        <a:p>
          <a:endParaRPr lang="en-US"/>
        </a:p>
      </dgm:t>
    </dgm:pt>
    <dgm:pt modelId="{1C5B31C8-9508-4F57-AFA7-75BFA4218384}" type="sibTrans" cxnId="{65BFE3E6-5607-4C54-9EAD-FFFEF506C22A}">
      <dgm:prSet/>
      <dgm:spPr/>
      <dgm:t>
        <a:bodyPr/>
        <a:lstStyle/>
        <a:p>
          <a:endParaRPr lang="en-US"/>
        </a:p>
      </dgm:t>
    </dgm:pt>
    <dgm:pt modelId="{C16D4838-59D6-45D2-BB19-4B8E3409D598}">
      <dgm:prSet custT="1"/>
      <dgm:spPr/>
      <dgm:t>
        <a:bodyPr/>
        <a:lstStyle/>
        <a:p>
          <a:r>
            <a:rPr lang="en-US" sz="3400" b="0" i="0" dirty="0"/>
            <a:t>Three elements:</a:t>
          </a:r>
          <a:endParaRPr lang="en-US" sz="3400" dirty="0"/>
        </a:p>
      </dgm:t>
    </dgm:pt>
    <dgm:pt modelId="{23103C14-B4EB-45BF-B82A-5E3D32C47DB9}" type="parTrans" cxnId="{BE60A167-2E67-433E-A17B-0FCC7A909B2F}">
      <dgm:prSet/>
      <dgm:spPr/>
      <dgm:t>
        <a:bodyPr/>
        <a:lstStyle/>
        <a:p>
          <a:endParaRPr lang="en-US"/>
        </a:p>
      </dgm:t>
    </dgm:pt>
    <dgm:pt modelId="{E9E24C87-2872-4526-9406-84C488052B41}" type="sibTrans" cxnId="{BE60A167-2E67-433E-A17B-0FCC7A909B2F}">
      <dgm:prSet/>
      <dgm:spPr/>
      <dgm:t>
        <a:bodyPr/>
        <a:lstStyle/>
        <a:p>
          <a:endParaRPr lang="en-US"/>
        </a:p>
      </dgm:t>
    </dgm:pt>
    <dgm:pt modelId="{0F996F28-B33B-4893-8148-62E4F56977F7}">
      <dgm:prSet custT="1"/>
      <dgm:spPr/>
      <dgm:t>
        <a:bodyPr/>
        <a:lstStyle/>
        <a:p>
          <a:r>
            <a:rPr lang="en-US" sz="1800" b="0" i="0" dirty="0"/>
            <a:t>Unwelcome sexual advances or requests for sexual favors</a:t>
          </a:r>
          <a:endParaRPr lang="en-US" sz="1800" dirty="0"/>
        </a:p>
      </dgm:t>
    </dgm:pt>
    <dgm:pt modelId="{3FA7A72A-F782-445C-84B2-159EE2B43B5D}" type="parTrans" cxnId="{A456BABA-75A3-4046-A20A-836211D381E7}">
      <dgm:prSet/>
      <dgm:spPr/>
      <dgm:t>
        <a:bodyPr/>
        <a:lstStyle/>
        <a:p>
          <a:endParaRPr lang="en-US"/>
        </a:p>
      </dgm:t>
    </dgm:pt>
    <dgm:pt modelId="{E37EF3BB-EF66-4EF6-83C1-7E9D16F0086E}" type="sibTrans" cxnId="{A456BABA-75A3-4046-A20A-836211D381E7}">
      <dgm:prSet/>
      <dgm:spPr/>
      <dgm:t>
        <a:bodyPr/>
        <a:lstStyle/>
        <a:p>
          <a:endParaRPr lang="en-US"/>
        </a:p>
      </dgm:t>
    </dgm:pt>
    <dgm:pt modelId="{0843CBDD-B3CF-4F37-978E-3738E703D55A}">
      <dgm:prSet custT="1"/>
      <dgm:spPr/>
      <dgm:t>
        <a:bodyPr/>
        <a:lstStyle/>
        <a:p>
          <a:r>
            <a:rPr lang="en-US" sz="1800" b="0" i="0"/>
            <a:t>Advances are based on employee’s sex</a:t>
          </a:r>
          <a:endParaRPr lang="en-US" sz="1800" dirty="0"/>
        </a:p>
      </dgm:t>
    </dgm:pt>
    <dgm:pt modelId="{109B04BA-8102-4A41-80B7-1614A4D3B16F}" type="parTrans" cxnId="{156746F7-832A-4BE2-B4FE-9203E058EC1D}">
      <dgm:prSet/>
      <dgm:spPr/>
      <dgm:t>
        <a:bodyPr/>
        <a:lstStyle/>
        <a:p>
          <a:endParaRPr lang="en-US"/>
        </a:p>
      </dgm:t>
    </dgm:pt>
    <dgm:pt modelId="{4E769A32-5BE1-4190-B4C0-DF3323FEDF24}" type="sibTrans" cxnId="{156746F7-832A-4BE2-B4FE-9203E058EC1D}">
      <dgm:prSet/>
      <dgm:spPr/>
      <dgm:t>
        <a:bodyPr/>
        <a:lstStyle/>
        <a:p>
          <a:endParaRPr lang="en-US"/>
        </a:p>
      </dgm:t>
    </dgm:pt>
    <dgm:pt modelId="{C0B4B24D-CA11-4532-958D-B55D91F98309}">
      <dgm:prSet custT="1"/>
      <dgm:spPr/>
      <dgm:t>
        <a:bodyPr/>
        <a:lstStyle/>
        <a:p>
          <a:r>
            <a:rPr lang="en-US" sz="1800" b="0" i="0" dirty="0"/>
            <a:t>Submission is an express or implied condition for receiving job benefits, or the employee’s refusal results in a tangible job detriment</a:t>
          </a:r>
          <a:endParaRPr lang="en-US" sz="1800" dirty="0"/>
        </a:p>
      </dgm:t>
    </dgm:pt>
    <dgm:pt modelId="{81BD2D3C-09D2-4A74-A25C-FF797527B4AD}" type="parTrans" cxnId="{9D3C64AC-B675-407D-AEC4-65F106000639}">
      <dgm:prSet/>
      <dgm:spPr/>
      <dgm:t>
        <a:bodyPr/>
        <a:lstStyle/>
        <a:p>
          <a:endParaRPr lang="en-US"/>
        </a:p>
      </dgm:t>
    </dgm:pt>
    <dgm:pt modelId="{E2859FCB-2BB4-439C-9C22-3B7E5C322C30}" type="sibTrans" cxnId="{9D3C64AC-B675-407D-AEC4-65F106000639}">
      <dgm:prSet/>
      <dgm:spPr/>
      <dgm:t>
        <a:bodyPr/>
        <a:lstStyle/>
        <a:p>
          <a:endParaRPr lang="en-US"/>
        </a:p>
      </dgm:t>
    </dgm:pt>
    <dgm:pt modelId="{BBBA90E6-F4A4-478C-8C1E-5980D4B85AB9}" type="pres">
      <dgm:prSet presAssocID="{EAC629AC-7C5A-4921-91BE-9E6A49FA2F32}" presName="Name0" presStyleCnt="0">
        <dgm:presLayoutVars>
          <dgm:dir/>
          <dgm:animLvl val="lvl"/>
          <dgm:resizeHandles val="exact"/>
        </dgm:presLayoutVars>
      </dgm:prSet>
      <dgm:spPr/>
    </dgm:pt>
    <dgm:pt modelId="{95CD4D6B-168A-48FA-ACD1-4E609365270D}" type="pres">
      <dgm:prSet presAssocID="{C16D4838-59D6-45D2-BB19-4B8E3409D598}" presName="boxAndChildren" presStyleCnt="0"/>
      <dgm:spPr/>
    </dgm:pt>
    <dgm:pt modelId="{6C0D06C6-E321-4F26-AD90-7CF7BCAB5DF9}" type="pres">
      <dgm:prSet presAssocID="{C16D4838-59D6-45D2-BB19-4B8E3409D598}" presName="parentTextBox" presStyleLbl="node1" presStyleIdx="0" presStyleCnt="2"/>
      <dgm:spPr/>
    </dgm:pt>
    <dgm:pt modelId="{5D27C3F3-26A1-4338-BA4E-AC458D3F0C7E}" type="pres">
      <dgm:prSet presAssocID="{C16D4838-59D6-45D2-BB19-4B8E3409D598}" presName="entireBox" presStyleLbl="node1" presStyleIdx="0" presStyleCnt="2" custScaleY="137220"/>
      <dgm:spPr/>
    </dgm:pt>
    <dgm:pt modelId="{FC2B8396-3A35-4324-BA3F-35D25E75174E}" type="pres">
      <dgm:prSet presAssocID="{C16D4838-59D6-45D2-BB19-4B8E3409D598}" presName="descendantBox" presStyleCnt="0"/>
      <dgm:spPr/>
    </dgm:pt>
    <dgm:pt modelId="{9E4086AF-9D58-4365-963F-30F553248CCE}" type="pres">
      <dgm:prSet presAssocID="{0F996F28-B33B-4893-8148-62E4F56977F7}" presName="childTextBox" presStyleLbl="fgAccFollowNode1" presStyleIdx="0" presStyleCnt="3" custScaleY="154167">
        <dgm:presLayoutVars>
          <dgm:bulletEnabled val="1"/>
        </dgm:presLayoutVars>
      </dgm:prSet>
      <dgm:spPr/>
    </dgm:pt>
    <dgm:pt modelId="{41D72080-718B-4254-9236-23170E8071F6}" type="pres">
      <dgm:prSet presAssocID="{0843CBDD-B3CF-4F37-978E-3738E703D55A}" presName="childTextBox" presStyleLbl="fgAccFollowNode1" presStyleIdx="1" presStyleCnt="3" custScaleY="153254" custLinFactNeighborY="-797">
        <dgm:presLayoutVars>
          <dgm:bulletEnabled val="1"/>
        </dgm:presLayoutVars>
      </dgm:prSet>
      <dgm:spPr/>
    </dgm:pt>
    <dgm:pt modelId="{D41B4C0A-4B19-4F56-A34D-3407735F104A}" type="pres">
      <dgm:prSet presAssocID="{C0B4B24D-CA11-4532-958D-B55D91F98309}" presName="childTextBox" presStyleLbl="fgAccFollowNode1" presStyleIdx="2" presStyleCnt="3" custScaleY="152899" custLinFactNeighborY="-797">
        <dgm:presLayoutVars>
          <dgm:bulletEnabled val="1"/>
        </dgm:presLayoutVars>
      </dgm:prSet>
      <dgm:spPr/>
    </dgm:pt>
    <dgm:pt modelId="{7520A457-7A6C-4F45-86B9-F9A05413D642}" type="pres">
      <dgm:prSet presAssocID="{1C5B31C8-9508-4F57-AFA7-75BFA4218384}" presName="sp" presStyleCnt="0"/>
      <dgm:spPr/>
    </dgm:pt>
    <dgm:pt modelId="{10833CBF-DED9-4EC4-9496-D693FD6FA58F}" type="pres">
      <dgm:prSet presAssocID="{81F8F375-3F0B-4836-8752-AD61D2DDC3A1}" presName="arrowAndChildren" presStyleCnt="0"/>
      <dgm:spPr/>
    </dgm:pt>
    <dgm:pt modelId="{7B1E7B04-BF39-4E56-A306-FF5059BEFD74}" type="pres">
      <dgm:prSet presAssocID="{81F8F375-3F0B-4836-8752-AD61D2DDC3A1}" presName="parentTextArrow" presStyleLbl="node1" presStyleIdx="1" presStyleCnt="2" custScaleY="55189"/>
      <dgm:spPr/>
    </dgm:pt>
  </dgm:ptLst>
  <dgm:cxnLst>
    <dgm:cxn modelId="{B027A707-E822-44C9-A1E0-0708E2DCDF21}" type="presOf" srcId="{0843CBDD-B3CF-4F37-978E-3738E703D55A}" destId="{41D72080-718B-4254-9236-23170E8071F6}" srcOrd="0" destOrd="0" presId="urn:microsoft.com/office/officeart/2005/8/layout/process4"/>
    <dgm:cxn modelId="{9BAB0B1B-C22A-492E-AD24-C32F5AD89CE0}" type="presOf" srcId="{81F8F375-3F0B-4836-8752-AD61D2DDC3A1}" destId="{7B1E7B04-BF39-4E56-A306-FF5059BEFD74}" srcOrd="0" destOrd="0" presId="urn:microsoft.com/office/officeart/2005/8/layout/process4"/>
    <dgm:cxn modelId="{FFC74829-6971-4B75-A894-AEC7E4F9D3D9}" type="presOf" srcId="{EAC629AC-7C5A-4921-91BE-9E6A49FA2F32}" destId="{BBBA90E6-F4A4-478C-8C1E-5980D4B85AB9}" srcOrd="0" destOrd="0" presId="urn:microsoft.com/office/officeart/2005/8/layout/process4"/>
    <dgm:cxn modelId="{BC6A5E2C-E2EC-4D63-B414-5BAFDF1160B0}" type="presOf" srcId="{C0B4B24D-CA11-4532-958D-B55D91F98309}" destId="{D41B4C0A-4B19-4F56-A34D-3407735F104A}" srcOrd="0" destOrd="0" presId="urn:microsoft.com/office/officeart/2005/8/layout/process4"/>
    <dgm:cxn modelId="{BE60A167-2E67-433E-A17B-0FCC7A909B2F}" srcId="{EAC629AC-7C5A-4921-91BE-9E6A49FA2F32}" destId="{C16D4838-59D6-45D2-BB19-4B8E3409D598}" srcOrd="1" destOrd="0" parTransId="{23103C14-B4EB-45BF-B82A-5E3D32C47DB9}" sibTransId="{E9E24C87-2872-4526-9406-84C488052B41}"/>
    <dgm:cxn modelId="{7349A359-3480-4BC9-8189-C4931D13637C}" type="presOf" srcId="{C16D4838-59D6-45D2-BB19-4B8E3409D598}" destId="{6C0D06C6-E321-4F26-AD90-7CF7BCAB5DF9}" srcOrd="0" destOrd="0" presId="urn:microsoft.com/office/officeart/2005/8/layout/process4"/>
    <dgm:cxn modelId="{7012F39A-5CC5-4B7D-96EB-B54FECB750AC}" type="presOf" srcId="{C16D4838-59D6-45D2-BB19-4B8E3409D598}" destId="{5D27C3F3-26A1-4338-BA4E-AC458D3F0C7E}" srcOrd="1" destOrd="0" presId="urn:microsoft.com/office/officeart/2005/8/layout/process4"/>
    <dgm:cxn modelId="{9D3C64AC-B675-407D-AEC4-65F106000639}" srcId="{C16D4838-59D6-45D2-BB19-4B8E3409D598}" destId="{C0B4B24D-CA11-4532-958D-B55D91F98309}" srcOrd="2" destOrd="0" parTransId="{81BD2D3C-09D2-4A74-A25C-FF797527B4AD}" sibTransId="{E2859FCB-2BB4-439C-9C22-3B7E5C322C30}"/>
    <dgm:cxn modelId="{A456BABA-75A3-4046-A20A-836211D381E7}" srcId="{C16D4838-59D6-45D2-BB19-4B8E3409D598}" destId="{0F996F28-B33B-4893-8148-62E4F56977F7}" srcOrd="0" destOrd="0" parTransId="{3FA7A72A-F782-445C-84B2-159EE2B43B5D}" sibTransId="{E37EF3BB-EF66-4EF6-83C1-7E9D16F0086E}"/>
    <dgm:cxn modelId="{65BFE3E6-5607-4C54-9EAD-FFFEF506C22A}" srcId="{EAC629AC-7C5A-4921-91BE-9E6A49FA2F32}" destId="{81F8F375-3F0B-4836-8752-AD61D2DDC3A1}" srcOrd="0" destOrd="0" parTransId="{7B793398-E760-4900-B5D6-77239984E9E0}" sibTransId="{1C5B31C8-9508-4F57-AFA7-75BFA4218384}"/>
    <dgm:cxn modelId="{178DCEE7-9FB5-4059-8FF7-A08AA1E5EA0A}" type="presOf" srcId="{0F996F28-B33B-4893-8148-62E4F56977F7}" destId="{9E4086AF-9D58-4365-963F-30F553248CCE}" srcOrd="0" destOrd="0" presId="urn:microsoft.com/office/officeart/2005/8/layout/process4"/>
    <dgm:cxn modelId="{156746F7-832A-4BE2-B4FE-9203E058EC1D}" srcId="{C16D4838-59D6-45D2-BB19-4B8E3409D598}" destId="{0843CBDD-B3CF-4F37-978E-3738E703D55A}" srcOrd="1" destOrd="0" parTransId="{109B04BA-8102-4A41-80B7-1614A4D3B16F}" sibTransId="{4E769A32-5BE1-4190-B4C0-DF3323FEDF24}"/>
    <dgm:cxn modelId="{25CF1DE8-37AA-4480-B24F-D2BCCCF59EDE}" type="presParOf" srcId="{BBBA90E6-F4A4-478C-8C1E-5980D4B85AB9}" destId="{95CD4D6B-168A-48FA-ACD1-4E609365270D}" srcOrd="0" destOrd="0" presId="urn:microsoft.com/office/officeart/2005/8/layout/process4"/>
    <dgm:cxn modelId="{4700D681-7EEB-47A9-8B09-130F76463F8F}" type="presParOf" srcId="{95CD4D6B-168A-48FA-ACD1-4E609365270D}" destId="{6C0D06C6-E321-4F26-AD90-7CF7BCAB5DF9}" srcOrd="0" destOrd="0" presId="urn:microsoft.com/office/officeart/2005/8/layout/process4"/>
    <dgm:cxn modelId="{62BC2B5F-4329-4749-AE05-895AB439AE19}" type="presParOf" srcId="{95CD4D6B-168A-48FA-ACD1-4E609365270D}" destId="{5D27C3F3-26A1-4338-BA4E-AC458D3F0C7E}" srcOrd="1" destOrd="0" presId="urn:microsoft.com/office/officeart/2005/8/layout/process4"/>
    <dgm:cxn modelId="{D973367E-9E35-4988-B337-6B4B4DE4A88B}" type="presParOf" srcId="{95CD4D6B-168A-48FA-ACD1-4E609365270D}" destId="{FC2B8396-3A35-4324-BA3F-35D25E75174E}" srcOrd="2" destOrd="0" presId="urn:microsoft.com/office/officeart/2005/8/layout/process4"/>
    <dgm:cxn modelId="{EB57C14A-6349-418F-B8DA-95390101C323}" type="presParOf" srcId="{FC2B8396-3A35-4324-BA3F-35D25E75174E}" destId="{9E4086AF-9D58-4365-963F-30F553248CCE}" srcOrd="0" destOrd="0" presId="urn:microsoft.com/office/officeart/2005/8/layout/process4"/>
    <dgm:cxn modelId="{AFF328FC-4194-4D7B-B3BB-AC22AE2E4FE3}" type="presParOf" srcId="{FC2B8396-3A35-4324-BA3F-35D25E75174E}" destId="{41D72080-718B-4254-9236-23170E8071F6}" srcOrd="1" destOrd="0" presId="urn:microsoft.com/office/officeart/2005/8/layout/process4"/>
    <dgm:cxn modelId="{BE5B40C3-9B9D-4F5F-B84E-23FF1E573311}" type="presParOf" srcId="{FC2B8396-3A35-4324-BA3F-35D25E75174E}" destId="{D41B4C0A-4B19-4F56-A34D-3407735F104A}" srcOrd="2" destOrd="0" presId="urn:microsoft.com/office/officeart/2005/8/layout/process4"/>
    <dgm:cxn modelId="{19A4D9B1-7B40-4E10-89AB-29FD128AF15E}" type="presParOf" srcId="{BBBA90E6-F4A4-478C-8C1E-5980D4B85AB9}" destId="{7520A457-7A6C-4F45-86B9-F9A05413D642}" srcOrd="1" destOrd="0" presId="urn:microsoft.com/office/officeart/2005/8/layout/process4"/>
    <dgm:cxn modelId="{3C6E5952-FD4B-4FCA-AD77-47A8884D2468}" type="presParOf" srcId="{BBBA90E6-F4A4-478C-8C1E-5980D4B85AB9}" destId="{10833CBF-DED9-4EC4-9496-D693FD6FA58F}" srcOrd="2" destOrd="0" presId="urn:microsoft.com/office/officeart/2005/8/layout/process4"/>
    <dgm:cxn modelId="{2871098A-79CE-4B41-AA47-D495308F1C3C}" type="presParOf" srcId="{10833CBF-DED9-4EC4-9496-D693FD6FA58F}" destId="{7B1E7B04-BF39-4E56-A306-FF5059BEFD74}"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0092A13-6C1B-469F-8EFF-A07210FDBD41}" type="doc">
      <dgm:prSet loTypeId="urn:microsoft.com/office/officeart/2005/8/layout/vList2" loCatId="list" qsTypeId="urn:microsoft.com/office/officeart/2005/8/quickstyle/simple4" qsCatId="simple" csTypeId="urn:microsoft.com/office/officeart/2005/8/colors/accent3_2" csCatId="accent3" phldr="1"/>
      <dgm:spPr/>
      <dgm:t>
        <a:bodyPr/>
        <a:lstStyle/>
        <a:p>
          <a:endParaRPr lang="en-US"/>
        </a:p>
      </dgm:t>
    </dgm:pt>
    <dgm:pt modelId="{E5953367-9623-4228-8509-766D1C6282C0}">
      <dgm:prSet/>
      <dgm:spPr>
        <a:solidFill>
          <a:schemeClr val="accent2"/>
        </a:solidFill>
      </dgm:spPr>
      <dgm:t>
        <a:bodyPr/>
        <a:lstStyle/>
        <a:p>
          <a:r>
            <a:rPr lang="en-US"/>
            <a:t>Hostile Work Environment – "reasonable person standard"</a:t>
          </a:r>
        </a:p>
      </dgm:t>
    </dgm:pt>
    <dgm:pt modelId="{27B1F6FE-2392-4AC1-8F3B-F2EB785CEA05}" type="parTrans" cxnId="{56DCC91A-8EB7-49DB-90EC-23D4475E2358}">
      <dgm:prSet/>
      <dgm:spPr/>
      <dgm:t>
        <a:bodyPr/>
        <a:lstStyle/>
        <a:p>
          <a:endParaRPr lang="en-US"/>
        </a:p>
      </dgm:t>
    </dgm:pt>
    <dgm:pt modelId="{16DBB748-5EB8-4C01-A706-B7783F4E97E2}" type="sibTrans" cxnId="{56DCC91A-8EB7-49DB-90EC-23D4475E2358}">
      <dgm:prSet/>
      <dgm:spPr/>
      <dgm:t>
        <a:bodyPr/>
        <a:lstStyle/>
        <a:p>
          <a:endParaRPr lang="en-US"/>
        </a:p>
      </dgm:t>
    </dgm:pt>
    <dgm:pt modelId="{9AEC407E-5DF5-4916-A0A7-26847FCEFB0A}">
      <dgm:prSet/>
      <dgm:spPr/>
      <dgm:t>
        <a:bodyPr/>
        <a:lstStyle/>
        <a:p>
          <a:r>
            <a:rPr lang="en-US" dirty="0"/>
            <a:t>A reasonable person in the same circumstances would perceive the environment created by conduct as intimidating, hostile, abusive, or offensive</a:t>
          </a:r>
        </a:p>
      </dgm:t>
    </dgm:pt>
    <dgm:pt modelId="{7B86E4D2-8E2C-45CC-938D-B480F50F3A51}" type="parTrans" cxnId="{2BFA7EAA-1E70-4360-B2BE-4365927E229A}">
      <dgm:prSet/>
      <dgm:spPr/>
      <dgm:t>
        <a:bodyPr/>
        <a:lstStyle/>
        <a:p>
          <a:endParaRPr lang="en-US"/>
        </a:p>
      </dgm:t>
    </dgm:pt>
    <dgm:pt modelId="{2D6A8B3C-4BB0-400A-A30B-16CD5CFBA42C}" type="sibTrans" cxnId="{2BFA7EAA-1E70-4360-B2BE-4365927E229A}">
      <dgm:prSet/>
      <dgm:spPr/>
      <dgm:t>
        <a:bodyPr/>
        <a:lstStyle/>
        <a:p>
          <a:endParaRPr lang="en-US"/>
        </a:p>
      </dgm:t>
    </dgm:pt>
    <dgm:pt modelId="{C1BB4727-A156-4F6A-9191-5136FEA09129}">
      <dgm:prSet/>
      <dgm:spPr/>
      <dgm:t>
        <a:bodyPr/>
        <a:lstStyle/>
        <a:p>
          <a:r>
            <a:rPr lang="en-US" dirty="0"/>
            <a:t>The reasonable person standard considers the victim’s perspective</a:t>
          </a:r>
        </a:p>
      </dgm:t>
    </dgm:pt>
    <dgm:pt modelId="{6F5E9E15-1A5C-4224-BB39-D40705E80C56}" type="parTrans" cxnId="{35855977-DD96-4266-9C5A-12E57DC79270}">
      <dgm:prSet/>
      <dgm:spPr/>
      <dgm:t>
        <a:bodyPr/>
        <a:lstStyle/>
        <a:p>
          <a:endParaRPr lang="en-US"/>
        </a:p>
      </dgm:t>
    </dgm:pt>
    <dgm:pt modelId="{13BBBA8D-DD3B-47EA-B8A1-0B0F58E07DAA}" type="sibTrans" cxnId="{35855977-DD96-4266-9C5A-12E57DC79270}">
      <dgm:prSet/>
      <dgm:spPr/>
      <dgm:t>
        <a:bodyPr/>
        <a:lstStyle/>
        <a:p>
          <a:endParaRPr lang="en-US"/>
        </a:p>
      </dgm:t>
    </dgm:pt>
    <dgm:pt modelId="{91472E12-BDBD-4C09-9ACE-7840C1B0045F}" type="pres">
      <dgm:prSet presAssocID="{10092A13-6C1B-469F-8EFF-A07210FDBD41}" presName="linear" presStyleCnt="0">
        <dgm:presLayoutVars>
          <dgm:animLvl val="lvl"/>
          <dgm:resizeHandles val="exact"/>
        </dgm:presLayoutVars>
      </dgm:prSet>
      <dgm:spPr/>
    </dgm:pt>
    <dgm:pt modelId="{E29978D6-BBCF-4771-813E-7B90DC6B39EA}" type="pres">
      <dgm:prSet presAssocID="{E5953367-9623-4228-8509-766D1C6282C0}" presName="parentText" presStyleLbl="node1" presStyleIdx="0" presStyleCnt="3">
        <dgm:presLayoutVars>
          <dgm:chMax val="0"/>
          <dgm:bulletEnabled val="1"/>
        </dgm:presLayoutVars>
      </dgm:prSet>
      <dgm:spPr/>
    </dgm:pt>
    <dgm:pt modelId="{69E136D9-F573-43F4-A71F-456467510C64}" type="pres">
      <dgm:prSet presAssocID="{16DBB748-5EB8-4C01-A706-B7783F4E97E2}" presName="spacer" presStyleCnt="0"/>
      <dgm:spPr/>
    </dgm:pt>
    <dgm:pt modelId="{C729C296-2A09-462F-8452-CE3C9FAC439E}" type="pres">
      <dgm:prSet presAssocID="{9AEC407E-5DF5-4916-A0A7-26847FCEFB0A}" presName="parentText" presStyleLbl="node1" presStyleIdx="1" presStyleCnt="3">
        <dgm:presLayoutVars>
          <dgm:chMax val="0"/>
          <dgm:bulletEnabled val="1"/>
        </dgm:presLayoutVars>
      </dgm:prSet>
      <dgm:spPr/>
    </dgm:pt>
    <dgm:pt modelId="{509F8AB4-3764-40D2-88B1-6245E8FD2E03}" type="pres">
      <dgm:prSet presAssocID="{2D6A8B3C-4BB0-400A-A30B-16CD5CFBA42C}" presName="spacer" presStyleCnt="0"/>
      <dgm:spPr/>
    </dgm:pt>
    <dgm:pt modelId="{C361C70B-CF1D-4895-B56B-5DE6C6AE1E39}" type="pres">
      <dgm:prSet presAssocID="{C1BB4727-A156-4F6A-9191-5136FEA09129}" presName="parentText" presStyleLbl="node1" presStyleIdx="2" presStyleCnt="3">
        <dgm:presLayoutVars>
          <dgm:chMax val="0"/>
          <dgm:bulletEnabled val="1"/>
        </dgm:presLayoutVars>
      </dgm:prSet>
      <dgm:spPr/>
    </dgm:pt>
  </dgm:ptLst>
  <dgm:cxnLst>
    <dgm:cxn modelId="{56DCC91A-8EB7-49DB-90EC-23D4475E2358}" srcId="{10092A13-6C1B-469F-8EFF-A07210FDBD41}" destId="{E5953367-9623-4228-8509-766D1C6282C0}" srcOrd="0" destOrd="0" parTransId="{27B1F6FE-2392-4AC1-8F3B-F2EB785CEA05}" sibTransId="{16DBB748-5EB8-4C01-A706-B7783F4E97E2}"/>
    <dgm:cxn modelId="{9C0C7C25-0338-44BA-8D9F-62718D856C4E}" type="presOf" srcId="{10092A13-6C1B-469F-8EFF-A07210FDBD41}" destId="{91472E12-BDBD-4C09-9ACE-7840C1B0045F}" srcOrd="0" destOrd="0" presId="urn:microsoft.com/office/officeart/2005/8/layout/vList2"/>
    <dgm:cxn modelId="{35855977-DD96-4266-9C5A-12E57DC79270}" srcId="{10092A13-6C1B-469F-8EFF-A07210FDBD41}" destId="{C1BB4727-A156-4F6A-9191-5136FEA09129}" srcOrd="2" destOrd="0" parTransId="{6F5E9E15-1A5C-4224-BB39-D40705E80C56}" sibTransId="{13BBBA8D-DD3B-47EA-B8A1-0B0F58E07DAA}"/>
    <dgm:cxn modelId="{F0F2028E-F7F2-4A90-9777-E4AF069D3BC6}" type="presOf" srcId="{9AEC407E-5DF5-4916-A0A7-26847FCEFB0A}" destId="{C729C296-2A09-462F-8452-CE3C9FAC439E}" srcOrd="0" destOrd="0" presId="urn:microsoft.com/office/officeart/2005/8/layout/vList2"/>
    <dgm:cxn modelId="{111A1BA3-0002-4784-960E-8FD5756BCD15}" type="presOf" srcId="{E5953367-9623-4228-8509-766D1C6282C0}" destId="{E29978D6-BBCF-4771-813E-7B90DC6B39EA}" srcOrd="0" destOrd="0" presId="urn:microsoft.com/office/officeart/2005/8/layout/vList2"/>
    <dgm:cxn modelId="{2BFA7EAA-1E70-4360-B2BE-4365927E229A}" srcId="{10092A13-6C1B-469F-8EFF-A07210FDBD41}" destId="{9AEC407E-5DF5-4916-A0A7-26847FCEFB0A}" srcOrd="1" destOrd="0" parTransId="{7B86E4D2-8E2C-45CC-938D-B480F50F3A51}" sibTransId="{2D6A8B3C-4BB0-400A-A30B-16CD5CFBA42C}"/>
    <dgm:cxn modelId="{C3B39EDD-8789-419F-82F2-AE80529059CA}" type="presOf" srcId="{C1BB4727-A156-4F6A-9191-5136FEA09129}" destId="{C361C70B-CF1D-4895-B56B-5DE6C6AE1E39}" srcOrd="0" destOrd="0" presId="urn:microsoft.com/office/officeart/2005/8/layout/vList2"/>
    <dgm:cxn modelId="{9396714A-95BC-43AE-9C6B-D79E5B33B0C6}" type="presParOf" srcId="{91472E12-BDBD-4C09-9ACE-7840C1B0045F}" destId="{E29978D6-BBCF-4771-813E-7B90DC6B39EA}" srcOrd="0" destOrd="0" presId="urn:microsoft.com/office/officeart/2005/8/layout/vList2"/>
    <dgm:cxn modelId="{4BEE059D-0D08-4711-91F6-B5B3AC8F3D4A}" type="presParOf" srcId="{91472E12-BDBD-4C09-9ACE-7840C1B0045F}" destId="{69E136D9-F573-43F4-A71F-456467510C64}" srcOrd="1" destOrd="0" presId="urn:microsoft.com/office/officeart/2005/8/layout/vList2"/>
    <dgm:cxn modelId="{5E4FB0BA-6179-456E-90FD-7A026102AA62}" type="presParOf" srcId="{91472E12-BDBD-4C09-9ACE-7840C1B0045F}" destId="{C729C296-2A09-462F-8452-CE3C9FAC439E}" srcOrd="2" destOrd="0" presId="urn:microsoft.com/office/officeart/2005/8/layout/vList2"/>
    <dgm:cxn modelId="{F9E01220-2B74-4C38-8F40-13F5763D78EE}" type="presParOf" srcId="{91472E12-BDBD-4C09-9ACE-7840C1B0045F}" destId="{509F8AB4-3764-40D2-88B1-6245E8FD2E03}" srcOrd="3" destOrd="0" presId="urn:microsoft.com/office/officeart/2005/8/layout/vList2"/>
    <dgm:cxn modelId="{5A1F2E23-8796-4BC1-A0FB-70CC84E1E8BB}" type="presParOf" srcId="{91472E12-BDBD-4C09-9ACE-7840C1B0045F}" destId="{C361C70B-CF1D-4895-B56B-5DE6C6AE1E39}"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6417AF7-5F5B-425F-A8A9-4D67EE15C4E5}"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4CF4CA50-EC29-4496-8193-D5A4785A1D94}">
      <dgm:prSet custT="1"/>
      <dgm:spPr/>
      <dgm:t>
        <a:bodyPr/>
        <a:lstStyle/>
        <a:p>
          <a:r>
            <a:rPr lang="en-US" sz="1600" dirty="0"/>
            <a:t>No one should have to suffer through a hostile work environment, even if the conduct doesn't offend others. </a:t>
          </a:r>
        </a:p>
      </dgm:t>
    </dgm:pt>
    <dgm:pt modelId="{3035A305-B2DC-44AC-8AAD-F1486DD02C44}" type="parTrans" cxnId="{4ACC4110-0A97-4133-8DA7-D8D05143B3F3}">
      <dgm:prSet/>
      <dgm:spPr/>
      <dgm:t>
        <a:bodyPr/>
        <a:lstStyle/>
        <a:p>
          <a:endParaRPr lang="en-US" sz="1600"/>
        </a:p>
      </dgm:t>
    </dgm:pt>
    <dgm:pt modelId="{6E9300F2-C7C9-4003-A993-E58DF210FCEB}" type="sibTrans" cxnId="{4ACC4110-0A97-4133-8DA7-D8D05143B3F3}">
      <dgm:prSet custT="1"/>
      <dgm:spPr/>
      <dgm:t>
        <a:bodyPr/>
        <a:lstStyle/>
        <a:p>
          <a:endParaRPr lang="en-US" sz="1600"/>
        </a:p>
      </dgm:t>
    </dgm:pt>
    <dgm:pt modelId="{923A907B-C065-4AFC-9645-8AD7DE255604}">
      <dgm:prSet custT="1"/>
      <dgm:spPr/>
      <dgm:t>
        <a:bodyPr/>
        <a:lstStyle/>
        <a:p>
          <a:r>
            <a:rPr lang="en-US" sz="1600" dirty="0"/>
            <a:t>The best way to handle uncomfortable situations may be at the lowest level – peer-to-peer communication can help resolve any conflict before it gets out of hand.</a:t>
          </a:r>
        </a:p>
      </dgm:t>
    </dgm:pt>
    <dgm:pt modelId="{E6D70BD8-8773-4FDF-932E-4D72E06CE418}" type="parTrans" cxnId="{12D66CF2-A097-44A0-9168-C71F377E777A}">
      <dgm:prSet/>
      <dgm:spPr/>
      <dgm:t>
        <a:bodyPr/>
        <a:lstStyle/>
        <a:p>
          <a:endParaRPr lang="en-US" sz="1600"/>
        </a:p>
      </dgm:t>
    </dgm:pt>
    <dgm:pt modelId="{07EF95D9-02FC-4022-92FF-3EFE6BCDD46E}" type="sibTrans" cxnId="{12D66CF2-A097-44A0-9168-C71F377E777A}">
      <dgm:prSet custT="1"/>
      <dgm:spPr/>
      <dgm:t>
        <a:bodyPr/>
        <a:lstStyle/>
        <a:p>
          <a:endParaRPr lang="en-US" sz="1600"/>
        </a:p>
      </dgm:t>
    </dgm:pt>
    <dgm:pt modelId="{64C62F37-24C4-4EE3-95CA-3C30AA6DC5A1}">
      <dgm:prSet custT="1"/>
      <dgm:spPr/>
      <dgm:t>
        <a:bodyPr/>
        <a:lstStyle/>
        <a:p>
          <a:r>
            <a:rPr lang="en-US" sz="1600"/>
            <a:t>Nevertheless, talking to a supervisor or HR professional is always a safe option to choose. </a:t>
          </a:r>
        </a:p>
      </dgm:t>
    </dgm:pt>
    <dgm:pt modelId="{CB16BCBC-5370-4DDE-8883-8A7836D5F624}" type="parTrans" cxnId="{F3C98B4A-DF2A-4A95-A0FC-232F26746FAF}">
      <dgm:prSet/>
      <dgm:spPr/>
      <dgm:t>
        <a:bodyPr/>
        <a:lstStyle/>
        <a:p>
          <a:endParaRPr lang="en-US" sz="1600"/>
        </a:p>
      </dgm:t>
    </dgm:pt>
    <dgm:pt modelId="{B68EA99A-F9B5-40B0-A2AA-DA533D686A54}" type="sibTrans" cxnId="{F3C98B4A-DF2A-4A95-A0FC-232F26746FAF}">
      <dgm:prSet custT="1"/>
      <dgm:spPr/>
      <dgm:t>
        <a:bodyPr/>
        <a:lstStyle/>
        <a:p>
          <a:endParaRPr lang="en-US" sz="1600"/>
        </a:p>
      </dgm:t>
    </dgm:pt>
    <dgm:pt modelId="{79CD2D1B-456C-4BD7-9A68-30D5B0689992}">
      <dgm:prSet custT="1"/>
      <dgm:spPr/>
      <dgm:t>
        <a:bodyPr/>
        <a:lstStyle/>
        <a:p>
          <a:r>
            <a:rPr lang="en-US" sz="1600" dirty="0"/>
            <a:t>Communication across the board is key to a healthy and happy work experience.</a:t>
          </a:r>
        </a:p>
      </dgm:t>
    </dgm:pt>
    <dgm:pt modelId="{1A88520B-6001-4187-94FA-15740AA581FC}" type="parTrans" cxnId="{E38D6F31-B603-4308-9F9E-0F04DF74C67A}">
      <dgm:prSet/>
      <dgm:spPr/>
      <dgm:t>
        <a:bodyPr/>
        <a:lstStyle/>
        <a:p>
          <a:endParaRPr lang="en-US" sz="1600"/>
        </a:p>
      </dgm:t>
    </dgm:pt>
    <dgm:pt modelId="{84A4E042-4105-47EB-8247-6A1A886E7C69}" type="sibTrans" cxnId="{E38D6F31-B603-4308-9F9E-0F04DF74C67A}">
      <dgm:prSet custT="1"/>
      <dgm:spPr/>
      <dgm:t>
        <a:bodyPr/>
        <a:lstStyle/>
        <a:p>
          <a:endParaRPr lang="en-US" sz="1600"/>
        </a:p>
      </dgm:t>
    </dgm:pt>
    <dgm:pt modelId="{BD195E80-7236-4F4D-AAC6-0AB4A51301EB}">
      <dgm:prSet custT="1"/>
      <dgm:spPr/>
      <dgm:t>
        <a:bodyPr/>
        <a:lstStyle/>
        <a:p>
          <a:r>
            <a:rPr lang="en-US" sz="1600"/>
            <a:t>Your role as a bystander can greatly influence whether someone gets the assistance they need.</a:t>
          </a:r>
        </a:p>
      </dgm:t>
    </dgm:pt>
    <dgm:pt modelId="{50B34476-A86C-4E2A-9208-E0CFF4CC6524}" type="parTrans" cxnId="{5664AA83-62B7-4BA2-9B4F-260E2BBC9EE6}">
      <dgm:prSet/>
      <dgm:spPr/>
      <dgm:t>
        <a:bodyPr/>
        <a:lstStyle/>
        <a:p>
          <a:endParaRPr lang="en-US" sz="1600"/>
        </a:p>
      </dgm:t>
    </dgm:pt>
    <dgm:pt modelId="{32FF7017-217C-4B50-B7D4-769A4FAF75D7}" type="sibTrans" cxnId="{5664AA83-62B7-4BA2-9B4F-260E2BBC9EE6}">
      <dgm:prSet/>
      <dgm:spPr/>
      <dgm:t>
        <a:bodyPr/>
        <a:lstStyle/>
        <a:p>
          <a:endParaRPr lang="en-US" sz="1600"/>
        </a:p>
      </dgm:t>
    </dgm:pt>
    <dgm:pt modelId="{22F83D53-D41F-4F61-979D-6C94630DB630}" type="pres">
      <dgm:prSet presAssocID="{F6417AF7-5F5B-425F-A8A9-4D67EE15C4E5}" presName="outerComposite" presStyleCnt="0">
        <dgm:presLayoutVars>
          <dgm:chMax val="5"/>
          <dgm:dir/>
          <dgm:resizeHandles val="exact"/>
        </dgm:presLayoutVars>
      </dgm:prSet>
      <dgm:spPr/>
    </dgm:pt>
    <dgm:pt modelId="{10E15E9A-1A0B-466A-B29C-A0907FEEA3A7}" type="pres">
      <dgm:prSet presAssocID="{F6417AF7-5F5B-425F-A8A9-4D67EE15C4E5}" presName="dummyMaxCanvas" presStyleCnt="0">
        <dgm:presLayoutVars/>
      </dgm:prSet>
      <dgm:spPr/>
    </dgm:pt>
    <dgm:pt modelId="{0CC713B6-2E9F-43FC-A9BE-1911A476F802}" type="pres">
      <dgm:prSet presAssocID="{F6417AF7-5F5B-425F-A8A9-4D67EE15C4E5}" presName="FiveNodes_1" presStyleLbl="node1" presStyleIdx="0" presStyleCnt="5">
        <dgm:presLayoutVars>
          <dgm:bulletEnabled val="1"/>
        </dgm:presLayoutVars>
      </dgm:prSet>
      <dgm:spPr/>
    </dgm:pt>
    <dgm:pt modelId="{2C8E23F3-4AB0-4E3C-9CA6-272917C3E929}" type="pres">
      <dgm:prSet presAssocID="{F6417AF7-5F5B-425F-A8A9-4D67EE15C4E5}" presName="FiveNodes_2" presStyleLbl="node1" presStyleIdx="1" presStyleCnt="5">
        <dgm:presLayoutVars>
          <dgm:bulletEnabled val="1"/>
        </dgm:presLayoutVars>
      </dgm:prSet>
      <dgm:spPr/>
    </dgm:pt>
    <dgm:pt modelId="{7E89BA45-0F56-42D7-BEEC-7A3E6984DE83}" type="pres">
      <dgm:prSet presAssocID="{F6417AF7-5F5B-425F-A8A9-4D67EE15C4E5}" presName="FiveNodes_3" presStyleLbl="node1" presStyleIdx="2" presStyleCnt="5">
        <dgm:presLayoutVars>
          <dgm:bulletEnabled val="1"/>
        </dgm:presLayoutVars>
      </dgm:prSet>
      <dgm:spPr/>
    </dgm:pt>
    <dgm:pt modelId="{F46E53A9-4BAC-4B99-9BC4-C9D2782803C9}" type="pres">
      <dgm:prSet presAssocID="{F6417AF7-5F5B-425F-A8A9-4D67EE15C4E5}" presName="FiveNodes_4" presStyleLbl="node1" presStyleIdx="3" presStyleCnt="5">
        <dgm:presLayoutVars>
          <dgm:bulletEnabled val="1"/>
        </dgm:presLayoutVars>
      </dgm:prSet>
      <dgm:spPr/>
    </dgm:pt>
    <dgm:pt modelId="{83687864-BB53-4260-A148-F3EE58D6F6A7}" type="pres">
      <dgm:prSet presAssocID="{F6417AF7-5F5B-425F-A8A9-4D67EE15C4E5}" presName="FiveNodes_5" presStyleLbl="node1" presStyleIdx="4" presStyleCnt="5">
        <dgm:presLayoutVars>
          <dgm:bulletEnabled val="1"/>
        </dgm:presLayoutVars>
      </dgm:prSet>
      <dgm:spPr/>
    </dgm:pt>
    <dgm:pt modelId="{76D979DE-AEE7-4499-808D-00D1128B95C5}" type="pres">
      <dgm:prSet presAssocID="{F6417AF7-5F5B-425F-A8A9-4D67EE15C4E5}" presName="FiveConn_1-2" presStyleLbl="fgAccFollowNode1" presStyleIdx="0" presStyleCnt="4">
        <dgm:presLayoutVars>
          <dgm:bulletEnabled val="1"/>
        </dgm:presLayoutVars>
      </dgm:prSet>
      <dgm:spPr/>
    </dgm:pt>
    <dgm:pt modelId="{3E46C7AF-ED81-48A9-9A38-4E1984AD89F4}" type="pres">
      <dgm:prSet presAssocID="{F6417AF7-5F5B-425F-A8A9-4D67EE15C4E5}" presName="FiveConn_2-3" presStyleLbl="fgAccFollowNode1" presStyleIdx="1" presStyleCnt="4">
        <dgm:presLayoutVars>
          <dgm:bulletEnabled val="1"/>
        </dgm:presLayoutVars>
      </dgm:prSet>
      <dgm:spPr/>
    </dgm:pt>
    <dgm:pt modelId="{82FC2158-81F2-4ADD-8452-B99FAE4DC0F1}" type="pres">
      <dgm:prSet presAssocID="{F6417AF7-5F5B-425F-A8A9-4D67EE15C4E5}" presName="FiveConn_3-4" presStyleLbl="fgAccFollowNode1" presStyleIdx="2" presStyleCnt="4">
        <dgm:presLayoutVars>
          <dgm:bulletEnabled val="1"/>
        </dgm:presLayoutVars>
      </dgm:prSet>
      <dgm:spPr/>
    </dgm:pt>
    <dgm:pt modelId="{47BFA448-023E-4279-B97B-10D974338027}" type="pres">
      <dgm:prSet presAssocID="{F6417AF7-5F5B-425F-A8A9-4D67EE15C4E5}" presName="FiveConn_4-5" presStyleLbl="fgAccFollowNode1" presStyleIdx="3" presStyleCnt="4">
        <dgm:presLayoutVars>
          <dgm:bulletEnabled val="1"/>
        </dgm:presLayoutVars>
      </dgm:prSet>
      <dgm:spPr/>
    </dgm:pt>
    <dgm:pt modelId="{B92AA0C1-D86C-4C78-91FB-BD1ED8B13348}" type="pres">
      <dgm:prSet presAssocID="{F6417AF7-5F5B-425F-A8A9-4D67EE15C4E5}" presName="FiveNodes_1_text" presStyleLbl="node1" presStyleIdx="4" presStyleCnt="5">
        <dgm:presLayoutVars>
          <dgm:bulletEnabled val="1"/>
        </dgm:presLayoutVars>
      </dgm:prSet>
      <dgm:spPr/>
    </dgm:pt>
    <dgm:pt modelId="{E6C808D1-20E8-4CAF-ACA6-051954C5C713}" type="pres">
      <dgm:prSet presAssocID="{F6417AF7-5F5B-425F-A8A9-4D67EE15C4E5}" presName="FiveNodes_2_text" presStyleLbl="node1" presStyleIdx="4" presStyleCnt="5">
        <dgm:presLayoutVars>
          <dgm:bulletEnabled val="1"/>
        </dgm:presLayoutVars>
      </dgm:prSet>
      <dgm:spPr/>
    </dgm:pt>
    <dgm:pt modelId="{A6943457-0A67-44EE-ADAD-4EAD844C334C}" type="pres">
      <dgm:prSet presAssocID="{F6417AF7-5F5B-425F-A8A9-4D67EE15C4E5}" presName="FiveNodes_3_text" presStyleLbl="node1" presStyleIdx="4" presStyleCnt="5">
        <dgm:presLayoutVars>
          <dgm:bulletEnabled val="1"/>
        </dgm:presLayoutVars>
      </dgm:prSet>
      <dgm:spPr/>
    </dgm:pt>
    <dgm:pt modelId="{360958A6-5624-49BC-8DED-B6880FB7E341}" type="pres">
      <dgm:prSet presAssocID="{F6417AF7-5F5B-425F-A8A9-4D67EE15C4E5}" presName="FiveNodes_4_text" presStyleLbl="node1" presStyleIdx="4" presStyleCnt="5">
        <dgm:presLayoutVars>
          <dgm:bulletEnabled val="1"/>
        </dgm:presLayoutVars>
      </dgm:prSet>
      <dgm:spPr/>
    </dgm:pt>
    <dgm:pt modelId="{1723BD29-BA24-4E95-ACD0-BDF6D76FFDB6}" type="pres">
      <dgm:prSet presAssocID="{F6417AF7-5F5B-425F-A8A9-4D67EE15C4E5}" presName="FiveNodes_5_text" presStyleLbl="node1" presStyleIdx="4" presStyleCnt="5">
        <dgm:presLayoutVars>
          <dgm:bulletEnabled val="1"/>
        </dgm:presLayoutVars>
      </dgm:prSet>
      <dgm:spPr/>
    </dgm:pt>
  </dgm:ptLst>
  <dgm:cxnLst>
    <dgm:cxn modelId="{4ACC4110-0A97-4133-8DA7-D8D05143B3F3}" srcId="{F6417AF7-5F5B-425F-A8A9-4D67EE15C4E5}" destId="{4CF4CA50-EC29-4496-8193-D5A4785A1D94}" srcOrd="0" destOrd="0" parTransId="{3035A305-B2DC-44AC-8AAD-F1486DD02C44}" sibTransId="{6E9300F2-C7C9-4003-A993-E58DF210FCEB}"/>
    <dgm:cxn modelId="{E38D6F31-B603-4308-9F9E-0F04DF74C67A}" srcId="{F6417AF7-5F5B-425F-A8A9-4D67EE15C4E5}" destId="{79CD2D1B-456C-4BD7-9A68-30D5B0689992}" srcOrd="3" destOrd="0" parTransId="{1A88520B-6001-4187-94FA-15740AA581FC}" sibTransId="{84A4E042-4105-47EB-8247-6A1A886E7C69}"/>
    <dgm:cxn modelId="{F3C98B4A-DF2A-4A95-A0FC-232F26746FAF}" srcId="{F6417AF7-5F5B-425F-A8A9-4D67EE15C4E5}" destId="{64C62F37-24C4-4EE3-95CA-3C30AA6DC5A1}" srcOrd="2" destOrd="0" parTransId="{CB16BCBC-5370-4DDE-8883-8A7836D5F624}" sibTransId="{B68EA99A-F9B5-40B0-A2AA-DA533D686A54}"/>
    <dgm:cxn modelId="{2347AA6B-EDC7-471A-90ED-87C9A6B1F79B}" type="presOf" srcId="{4CF4CA50-EC29-4496-8193-D5A4785A1D94}" destId="{B92AA0C1-D86C-4C78-91FB-BD1ED8B13348}" srcOrd="1" destOrd="0" presId="urn:microsoft.com/office/officeart/2005/8/layout/vProcess5"/>
    <dgm:cxn modelId="{401C4D53-D793-4AC3-B2B7-BA578C467BAC}" type="presOf" srcId="{07EF95D9-02FC-4022-92FF-3EFE6BCDD46E}" destId="{3E46C7AF-ED81-48A9-9A38-4E1984AD89F4}" srcOrd="0" destOrd="0" presId="urn:microsoft.com/office/officeart/2005/8/layout/vProcess5"/>
    <dgm:cxn modelId="{1CFC3974-7793-4954-BEC0-C7D22939F0BF}" type="presOf" srcId="{923A907B-C065-4AFC-9645-8AD7DE255604}" destId="{2C8E23F3-4AB0-4E3C-9CA6-272917C3E929}" srcOrd="0" destOrd="0" presId="urn:microsoft.com/office/officeart/2005/8/layout/vProcess5"/>
    <dgm:cxn modelId="{5664AA83-62B7-4BA2-9B4F-260E2BBC9EE6}" srcId="{F6417AF7-5F5B-425F-A8A9-4D67EE15C4E5}" destId="{BD195E80-7236-4F4D-AAC6-0AB4A51301EB}" srcOrd="4" destOrd="0" parTransId="{50B34476-A86C-4E2A-9208-E0CFF4CC6524}" sibTransId="{32FF7017-217C-4B50-B7D4-769A4FAF75D7}"/>
    <dgm:cxn modelId="{DC67D986-A564-442C-B10E-601987B7ADB8}" type="presOf" srcId="{BD195E80-7236-4F4D-AAC6-0AB4A51301EB}" destId="{83687864-BB53-4260-A148-F3EE58D6F6A7}" srcOrd="0" destOrd="0" presId="urn:microsoft.com/office/officeart/2005/8/layout/vProcess5"/>
    <dgm:cxn modelId="{053EDF9F-0A08-4C9E-9733-8A851405A11C}" type="presOf" srcId="{79CD2D1B-456C-4BD7-9A68-30D5B0689992}" destId="{360958A6-5624-49BC-8DED-B6880FB7E341}" srcOrd="1" destOrd="0" presId="urn:microsoft.com/office/officeart/2005/8/layout/vProcess5"/>
    <dgm:cxn modelId="{6756C4B3-B498-4D70-B9BC-824918085ED5}" type="presOf" srcId="{923A907B-C065-4AFC-9645-8AD7DE255604}" destId="{E6C808D1-20E8-4CAF-ACA6-051954C5C713}" srcOrd="1" destOrd="0" presId="urn:microsoft.com/office/officeart/2005/8/layout/vProcess5"/>
    <dgm:cxn modelId="{07D7E8BE-8D77-4EDD-9066-9CB956CFE1F4}" type="presOf" srcId="{BD195E80-7236-4F4D-AAC6-0AB4A51301EB}" destId="{1723BD29-BA24-4E95-ACD0-BDF6D76FFDB6}" srcOrd="1" destOrd="0" presId="urn:microsoft.com/office/officeart/2005/8/layout/vProcess5"/>
    <dgm:cxn modelId="{55B0FAC9-DE52-47D4-9D7D-83A81E076BD6}" type="presOf" srcId="{6E9300F2-C7C9-4003-A993-E58DF210FCEB}" destId="{76D979DE-AEE7-4499-808D-00D1128B95C5}" srcOrd="0" destOrd="0" presId="urn:microsoft.com/office/officeart/2005/8/layout/vProcess5"/>
    <dgm:cxn modelId="{70B173D4-9880-486A-9412-639FFA73D9CA}" type="presOf" srcId="{B68EA99A-F9B5-40B0-A2AA-DA533D686A54}" destId="{82FC2158-81F2-4ADD-8452-B99FAE4DC0F1}" srcOrd="0" destOrd="0" presId="urn:microsoft.com/office/officeart/2005/8/layout/vProcess5"/>
    <dgm:cxn modelId="{5FE853DE-32F3-4DA6-B2C4-0F6D3E3DAB6E}" type="presOf" srcId="{64C62F37-24C4-4EE3-95CA-3C30AA6DC5A1}" destId="{A6943457-0A67-44EE-ADAD-4EAD844C334C}" srcOrd="1" destOrd="0" presId="urn:microsoft.com/office/officeart/2005/8/layout/vProcess5"/>
    <dgm:cxn modelId="{509505DF-FE0C-448A-87DF-F90240A89A45}" type="presOf" srcId="{4CF4CA50-EC29-4496-8193-D5A4785A1D94}" destId="{0CC713B6-2E9F-43FC-A9BE-1911A476F802}" srcOrd="0" destOrd="0" presId="urn:microsoft.com/office/officeart/2005/8/layout/vProcess5"/>
    <dgm:cxn modelId="{DCAE50E6-9738-429D-9400-8485E7941A44}" type="presOf" srcId="{64C62F37-24C4-4EE3-95CA-3C30AA6DC5A1}" destId="{7E89BA45-0F56-42D7-BEEC-7A3E6984DE83}" srcOrd="0" destOrd="0" presId="urn:microsoft.com/office/officeart/2005/8/layout/vProcess5"/>
    <dgm:cxn modelId="{D2F89DE9-2542-4932-A0DF-3EF4976BE792}" type="presOf" srcId="{79CD2D1B-456C-4BD7-9A68-30D5B0689992}" destId="{F46E53A9-4BAC-4B99-9BC4-C9D2782803C9}" srcOrd="0" destOrd="0" presId="urn:microsoft.com/office/officeart/2005/8/layout/vProcess5"/>
    <dgm:cxn modelId="{A8522EF0-74CE-4B74-9D0D-2A5F92EC4FE1}" type="presOf" srcId="{F6417AF7-5F5B-425F-A8A9-4D67EE15C4E5}" destId="{22F83D53-D41F-4F61-979D-6C94630DB630}" srcOrd="0" destOrd="0" presId="urn:microsoft.com/office/officeart/2005/8/layout/vProcess5"/>
    <dgm:cxn modelId="{12D66CF2-A097-44A0-9168-C71F377E777A}" srcId="{F6417AF7-5F5B-425F-A8A9-4D67EE15C4E5}" destId="{923A907B-C065-4AFC-9645-8AD7DE255604}" srcOrd="1" destOrd="0" parTransId="{E6D70BD8-8773-4FDF-932E-4D72E06CE418}" sibTransId="{07EF95D9-02FC-4022-92FF-3EFE6BCDD46E}"/>
    <dgm:cxn modelId="{F60181F7-B8A1-40CD-9168-F68E5F0CB120}" type="presOf" srcId="{84A4E042-4105-47EB-8247-6A1A886E7C69}" destId="{47BFA448-023E-4279-B97B-10D974338027}" srcOrd="0" destOrd="0" presId="urn:microsoft.com/office/officeart/2005/8/layout/vProcess5"/>
    <dgm:cxn modelId="{A680BD8E-2E54-4077-A33A-D5CB8AE27549}" type="presParOf" srcId="{22F83D53-D41F-4F61-979D-6C94630DB630}" destId="{10E15E9A-1A0B-466A-B29C-A0907FEEA3A7}" srcOrd="0" destOrd="0" presId="urn:microsoft.com/office/officeart/2005/8/layout/vProcess5"/>
    <dgm:cxn modelId="{5F6AB1A8-13AD-41FA-8470-D3D8E6B12672}" type="presParOf" srcId="{22F83D53-D41F-4F61-979D-6C94630DB630}" destId="{0CC713B6-2E9F-43FC-A9BE-1911A476F802}" srcOrd="1" destOrd="0" presId="urn:microsoft.com/office/officeart/2005/8/layout/vProcess5"/>
    <dgm:cxn modelId="{89748724-AB94-40C3-AD69-1DF173E6BFBB}" type="presParOf" srcId="{22F83D53-D41F-4F61-979D-6C94630DB630}" destId="{2C8E23F3-4AB0-4E3C-9CA6-272917C3E929}" srcOrd="2" destOrd="0" presId="urn:microsoft.com/office/officeart/2005/8/layout/vProcess5"/>
    <dgm:cxn modelId="{2B8939A1-AA2C-47BE-B03B-61BC183E7553}" type="presParOf" srcId="{22F83D53-D41F-4F61-979D-6C94630DB630}" destId="{7E89BA45-0F56-42D7-BEEC-7A3E6984DE83}" srcOrd="3" destOrd="0" presId="urn:microsoft.com/office/officeart/2005/8/layout/vProcess5"/>
    <dgm:cxn modelId="{885B2F81-41D9-436C-A60F-EBF07646D140}" type="presParOf" srcId="{22F83D53-D41F-4F61-979D-6C94630DB630}" destId="{F46E53A9-4BAC-4B99-9BC4-C9D2782803C9}" srcOrd="4" destOrd="0" presId="urn:microsoft.com/office/officeart/2005/8/layout/vProcess5"/>
    <dgm:cxn modelId="{AB0FD58F-D5ED-4AD2-9018-D1196CD62912}" type="presParOf" srcId="{22F83D53-D41F-4F61-979D-6C94630DB630}" destId="{83687864-BB53-4260-A148-F3EE58D6F6A7}" srcOrd="5" destOrd="0" presId="urn:microsoft.com/office/officeart/2005/8/layout/vProcess5"/>
    <dgm:cxn modelId="{40A5290D-BE50-44A1-9219-CFA2B27AFD72}" type="presParOf" srcId="{22F83D53-D41F-4F61-979D-6C94630DB630}" destId="{76D979DE-AEE7-4499-808D-00D1128B95C5}" srcOrd="6" destOrd="0" presId="urn:microsoft.com/office/officeart/2005/8/layout/vProcess5"/>
    <dgm:cxn modelId="{C6618298-FD4E-41EF-99E4-CBDFD61C9E17}" type="presParOf" srcId="{22F83D53-D41F-4F61-979D-6C94630DB630}" destId="{3E46C7AF-ED81-48A9-9A38-4E1984AD89F4}" srcOrd="7" destOrd="0" presId="urn:microsoft.com/office/officeart/2005/8/layout/vProcess5"/>
    <dgm:cxn modelId="{3BDC790F-A64A-4020-A52D-AC1D8FEF630A}" type="presParOf" srcId="{22F83D53-D41F-4F61-979D-6C94630DB630}" destId="{82FC2158-81F2-4ADD-8452-B99FAE4DC0F1}" srcOrd="8" destOrd="0" presId="urn:microsoft.com/office/officeart/2005/8/layout/vProcess5"/>
    <dgm:cxn modelId="{9C288E21-B7B1-4B33-A99F-0B776F15FF64}" type="presParOf" srcId="{22F83D53-D41F-4F61-979D-6C94630DB630}" destId="{47BFA448-023E-4279-B97B-10D974338027}" srcOrd="9" destOrd="0" presId="urn:microsoft.com/office/officeart/2005/8/layout/vProcess5"/>
    <dgm:cxn modelId="{654C1E6F-0095-4E9C-9EC8-2CEF6C63A910}" type="presParOf" srcId="{22F83D53-D41F-4F61-979D-6C94630DB630}" destId="{B92AA0C1-D86C-4C78-91FB-BD1ED8B13348}" srcOrd="10" destOrd="0" presId="urn:microsoft.com/office/officeart/2005/8/layout/vProcess5"/>
    <dgm:cxn modelId="{26F25A9E-5C6A-4A09-AC1E-5E0BE71B16F9}" type="presParOf" srcId="{22F83D53-D41F-4F61-979D-6C94630DB630}" destId="{E6C808D1-20E8-4CAF-ACA6-051954C5C713}" srcOrd="11" destOrd="0" presId="urn:microsoft.com/office/officeart/2005/8/layout/vProcess5"/>
    <dgm:cxn modelId="{5D7DB39E-77A8-4282-839D-CF768C99C1AE}" type="presParOf" srcId="{22F83D53-D41F-4F61-979D-6C94630DB630}" destId="{A6943457-0A67-44EE-ADAD-4EAD844C334C}" srcOrd="12" destOrd="0" presId="urn:microsoft.com/office/officeart/2005/8/layout/vProcess5"/>
    <dgm:cxn modelId="{7F8061B9-C05B-41B7-B040-7FFC6AED488B}" type="presParOf" srcId="{22F83D53-D41F-4F61-979D-6C94630DB630}" destId="{360958A6-5624-49BC-8DED-B6880FB7E341}" srcOrd="13" destOrd="0" presId="urn:microsoft.com/office/officeart/2005/8/layout/vProcess5"/>
    <dgm:cxn modelId="{4B9C8D46-8D04-434F-ADF4-FE9F55BE3EAD}" type="presParOf" srcId="{22F83D53-D41F-4F61-979D-6C94630DB630}" destId="{1723BD29-BA24-4E95-ACD0-BDF6D76FFDB6}"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FFE9291-41DA-481A-A814-57CBF3B8233C}"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3A900EE5-6ABC-473D-89DD-61495AA4E2CB}">
      <dgm:prSet custT="1"/>
      <dgm:spPr/>
      <dgm:t>
        <a:bodyPr/>
        <a:lstStyle/>
        <a:p>
          <a:pPr algn="l"/>
          <a:r>
            <a:rPr lang="en-US" sz="2600" b="1" dirty="0"/>
            <a:t>Physical conduct can be sexual harassment, such as unwanted:</a:t>
          </a:r>
        </a:p>
      </dgm:t>
    </dgm:pt>
    <dgm:pt modelId="{EAD39A5E-D727-40DA-B238-8D4D66D20B8C}" type="parTrans" cxnId="{720C08E3-69CB-4315-8C5A-7B74280E3B54}">
      <dgm:prSet/>
      <dgm:spPr/>
      <dgm:t>
        <a:bodyPr/>
        <a:lstStyle/>
        <a:p>
          <a:endParaRPr lang="en-US"/>
        </a:p>
      </dgm:t>
    </dgm:pt>
    <dgm:pt modelId="{CED31F82-5B0D-4FB8-BFAE-BE47BC01B5D2}" type="sibTrans" cxnId="{720C08E3-69CB-4315-8C5A-7B74280E3B54}">
      <dgm:prSet/>
      <dgm:spPr/>
      <dgm:t>
        <a:bodyPr/>
        <a:lstStyle/>
        <a:p>
          <a:endParaRPr lang="en-US"/>
        </a:p>
      </dgm:t>
    </dgm:pt>
    <dgm:pt modelId="{A3B94DB8-DFD7-4C95-9F93-09A46156B87B}">
      <dgm:prSet/>
      <dgm:spPr/>
      <dgm:t>
        <a:bodyPr/>
        <a:lstStyle/>
        <a:p>
          <a:r>
            <a:rPr lang="en-US" dirty="0"/>
            <a:t>Kissing</a:t>
          </a:r>
        </a:p>
      </dgm:t>
    </dgm:pt>
    <dgm:pt modelId="{0C150446-767F-4711-8E2B-F9FF68286286}" type="parTrans" cxnId="{9B250C17-66E4-405D-BAE5-85EA6DD5920B}">
      <dgm:prSet/>
      <dgm:spPr/>
      <dgm:t>
        <a:bodyPr/>
        <a:lstStyle/>
        <a:p>
          <a:endParaRPr lang="en-US"/>
        </a:p>
      </dgm:t>
    </dgm:pt>
    <dgm:pt modelId="{BAEE7C04-A2E3-4F0C-A415-B340994CAFF0}" type="sibTrans" cxnId="{9B250C17-66E4-405D-BAE5-85EA6DD5920B}">
      <dgm:prSet/>
      <dgm:spPr/>
      <dgm:t>
        <a:bodyPr/>
        <a:lstStyle/>
        <a:p>
          <a:endParaRPr lang="en-US"/>
        </a:p>
      </dgm:t>
    </dgm:pt>
    <dgm:pt modelId="{7BCE9F3C-A2F9-4F04-8925-6FD93FB2CB4B}">
      <dgm:prSet/>
      <dgm:spPr/>
      <dgm:t>
        <a:bodyPr/>
        <a:lstStyle/>
        <a:p>
          <a:r>
            <a:rPr lang="en-US" dirty="0"/>
            <a:t>Hugging</a:t>
          </a:r>
          <a:endParaRPr lang="en-US" b="1" dirty="0"/>
        </a:p>
      </dgm:t>
    </dgm:pt>
    <dgm:pt modelId="{972A7DB9-0270-46DB-8D26-D6BA76ADDB63}" type="parTrans" cxnId="{EC0BA2EB-DB53-4198-B541-D78A37CA2C7D}">
      <dgm:prSet/>
      <dgm:spPr/>
      <dgm:t>
        <a:bodyPr/>
        <a:lstStyle/>
        <a:p>
          <a:endParaRPr lang="en-US"/>
        </a:p>
      </dgm:t>
    </dgm:pt>
    <dgm:pt modelId="{16D6DEFC-E829-4E57-B8F4-DB131843CD2F}" type="sibTrans" cxnId="{EC0BA2EB-DB53-4198-B541-D78A37CA2C7D}">
      <dgm:prSet/>
      <dgm:spPr/>
      <dgm:t>
        <a:bodyPr/>
        <a:lstStyle/>
        <a:p>
          <a:endParaRPr lang="en-US"/>
        </a:p>
      </dgm:t>
    </dgm:pt>
    <dgm:pt modelId="{667DA366-BF4C-4CD2-9312-53D6283AD757}">
      <dgm:prSet/>
      <dgm:spPr/>
      <dgm:t>
        <a:bodyPr/>
        <a:lstStyle/>
        <a:p>
          <a:r>
            <a:rPr lang="en-US" dirty="0"/>
            <a:t>Grabbing</a:t>
          </a:r>
        </a:p>
      </dgm:t>
    </dgm:pt>
    <dgm:pt modelId="{73E61E56-6ED4-4BD3-BD42-E76B51FF3093}" type="parTrans" cxnId="{8CF3077F-0260-4FC3-87BF-FCEAFE8E4856}">
      <dgm:prSet/>
      <dgm:spPr/>
      <dgm:t>
        <a:bodyPr/>
        <a:lstStyle/>
        <a:p>
          <a:endParaRPr lang="en-US"/>
        </a:p>
      </dgm:t>
    </dgm:pt>
    <dgm:pt modelId="{E0547A27-3677-4E23-9845-C26225222A56}" type="sibTrans" cxnId="{8CF3077F-0260-4FC3-87BF-FCEAFE8E4856}">
      <dgm:prSet/>
      <dgm:spPr/>
      <dgm:t>
        <a:bodyPr/>
        <a:lstStyle/>
        <a:p>
          <a:endParaRPr lang="en-US"/>
        </a:p>
      </dgm:t>
    </dgm:pt>
    <dgm:pt modelId="{5E182131-1D6B-443F-B7C1-7545257894B2}">
      <dgm:prSet/>
      <dgm:spPr/>
      <dgm:t>
        <a:bodyPr/>
        <a:lstStyle/>
        <a:p>
          <a:r>
            <a:rPr lang="en-US" dirty="0"/>
            <a:t>Touching</a:t>
          </a:r>
        </a:p>
      </dgm:t>
    </dgm:pt>
    <dgm:pt modelId="{96693932-0163-4CC6-B6CC-14725E621F29}" type="parTrans" cxnId="{0819CB95-0036-48A7-96D4-7A72B3E48D24}">
      <dgm:prSet/>
      <dgm:spPr/>
      <dgm:t>
        <a:bodyPr/>
        <a:lstStyle/>
        <a:p>
          <a:endParaRPr lang="en-US"/>
        </a:p>
      </dgm:t>
    </dgm:pt>
    <dgm:pt modelId="{BED78FAD-9B28-411F-A517-56D512BB709A}" type="sibTrans" cxnId="{0819CB95-0036-48A7-96D4-7A72B3E48D24}">
      <dgm:prSet/>
      <dgm:spPr/>
      <dgm:t>
        <a:bodyPr/>
        <a:lstStyle/>
        <a:p>
          <a:endParaRPr lang="en-US"/>
        </a:p>
      </dgm:t>
    </dgm:pt>
    <dgm:pt modelId="{9548D4EB-E13A-4C16-A48F-CECC74A62EBA}">
      <dgm:prSet/>
      <dgm:spPr/>
      <dgm:t>
        <a:bodyPr/>
        <a:lstStyle/>
        <a:p>
          <a:r>
            <a:rPr lang="en-US" dirty="0"/>
            <a:t>Impeding or blocking of movements</a:t>
          </a:r>
        </a:p>
      </dgm:t>
    </dgm:pt>
    <dgm:pt modelId="{8DBEF695-F055-4225-A744-A0680DA46314}" type="parTrans" cxnId="{5400A333-4600-4AEC-9641-32B47E05A80C}">
      <dgm:prSet/>
      <dgm:spPr/>
      <dgm:t>
        <a:bodyPr/>
        <a:lstStyle/>
        <a:p>
          <a:endParaRPr lang="en-US"/>
        </a:p>
      </dgm:t>
    </dgm:pt>
    <dgm:pt modelId="{563C7E53-1A3C-4151-B431-F28DD7A19CDF}" type="sibTrans" cxnId="{5400A333-4600-4AEC-9641-32B47E05A80C}">
      <dgm:prSet/>
      <dgm:spPr/>
      <dgm:t>
        <a:bodyPr/>
        <a:lstStyle/>
        <a:p>
          <a:endParaRPr lang="en-US"/>
        </a:p>
      </dgm:t>
    </dgm:pt>
    <dgm:pt modelId="{F0DDEA2A-521A-4B14-A5D9-EB601CC25FE8}">
      <dgm:prSet/>
      <dgm:spPr/>
      <dgm:t>
        <a:bodyPr/>
        <a:lstStyle/>
        <a:p>
          <a:r>
            <a:rPr lang="en-US" dirty="0"/>
            <a:t>Assault</a:t>
          </a:r>
        </a:p>
      </dgm:t>
    </dgm:pt>
    <dgm:pt modelId="{00CAC3E0-6B9B-42F5-97B1-113A51555DCA}" type="parTrans" cxnId="{5446692E-3903-4A5F-A467-167DAC32E4AE}">
      <dgm:prSet/>
      <dgm:spPr/>
      <dgm:t>
        <a:bodyPr/>
        <a:lstStyle/>
        <a:p>
          <a:endParaRPr lang="en-US"/>
        </a:p>
      </dgm:t>
    </dgm:pt>
    <dgm:pt modelId="{784179CB-7827-41C6-AB77-48B31E6FFBB1}" type="sibTrans" cxnId="{5446692E-3903-4A5F-A467-167DAC32E4AE}">
      <dgm:prSet/>
      <dgm:spPr/>
      <dgm:t>
        <a:bodyPr/>
        <a:lstStyle/>
        <a:p>
          <a:endParaRPr lang="en-US"/>
        </a:p>
      </dgm:t>
    </dgm:pt>
    <dgm:pt modelId="{4FC5EEE9-01BC-4272-873A-C94183CA92C1}" type="pres">
      <dgm:prSet presAssocID="{DFFE9291-41DA-481A-A814-57CBF3B8233C}" presName="vert0" presStyleCnt="0">
        <dgm:presLayoutVars>
          <dgm:dir/>
          <dgm:animOne val="branch"/>
          <dgm:animLvl val="lvl"/>
        </dgm:presLayoutVars>
      </dgm:prSet>
      <dgm:spPr/>
    </dgm:pt>
    <dgm:pt modelId="{9DD2F767-96F1-47F0-9B98-21D237EA4B9E}" type="pres">
      <dgm:prSet presAssocID="{3A900EE5-6ABC-473D-89DD-61495AA4E2CB}" presName="thickLine" presStyleLbl="alignNode1" presStyleIdx="0" presStyleCnt="1"/>
      <dgm:spPr/>
    </dgm:pt>
    <dgm:pt modelId="{76C57D79-4DAF-45EF-910F-44B46EEB1FEA}" type="pres">
      <dgm:prSet presAssocID="{3A900EE5-6ABC-473D-89DD-61495AA4E2CB}" presName="horz1" presStyleCnt="0"/>
      <dgm:spPr/>
    </dgm:pt>
    <dgm:pt modelId="{04001C80-5663-468B-80EC-4159CF79AA16}" type="pres">
      <dgm:prSet presAssocID="{3A900EE5-6ABC-473D-89DD-61495AA4E2CB}" presName="tx1" presStyleLbl="revTx" presStyleIdx="0" presStyleCnt="7" custScaleX="163744" custLinFactNeighborX="442"/>
      <dgm:spPr/>
    </dgm:pt>
    <dgm:pt modelId="{469DF00B-F79B-42D0-AC2A-FA42C1A9507C}" type="pres">
      <dgm:prSet presAssocID="{3A900EE5-6ABC-473D-89DD-61495AA4E2CB}" presName="vert1" presStyleCnt="0"/>
      <dgm:spPr/>
    </dgm:pt>
    <dgm:pt modelId="{0C40BA08-A138-4BB6-BFF2-0D494DA37761}" type="pres">
      <dgm:prSet presAssocID="{A3B94DB8-DFD7-4C95-9F93-09A46156B87B}" presName="vertSpace2a" presStyleCnt="0"/>
      <dgm:spPr/>
    </dgm:pt>
    <dgm:pt modelId="{974F8961-E9CE-4BA0-8869-F0E19D408685}" type="pres">
      <dgm:prSet presAssocID="{A3B94DB8-DFD7-4C95-9F93-09A46156B87B}" presName="horz2" presStyleCnt="0"/>
      <dgm:spPr/>
    </dgm:pt>
    <dgm:pt modelId="{67613C53-6B4A-4285-B7DA-DC38E46BD909}" type="pres">
      <dgm:prSet presAssocID="{A3B94DB8-DFD7-4C95-9F93-09A46156B87B}" presName="horzSpace2" presStyleCnt="0"/>
      <dgm:spPr/>
    </dgm:pt>
    <dgm:pt modelId="{FA7B188E-0470-494B-A0AA-76CA1D7FB0CC}" type="pres">
      <dgm:prSet presAssocID="{A3B94DB8-DFD7-4C95-9F93-09A46156B87B}" presName="tx2" presStyleLbl="revTx" presStyleIdx="1" presStyleCnt="7"/>
      <dgm:spPr/>
    </dgm:pt>
    <dgm:pt modelId="{40377AE3-74FF-404D-B2DA-75B54F944AF0}" type="pres">
      <dgm:prSet presAssocID="{A3B94DB8-DFD7-4C95-9F93-09A46156B87B}" presName="vert2" presStyleCnt="0"/>
      <dgm:spPr/>
    </dgm:pt>
    <dgm:pt modelId="{E5774954-DE3E-4364-9724-9A5D74BA6EC6}" type="pres">
      <dgm:prSet presAssocID="{A3B94DB8-DFD7-4C95-9F93-09A46156B87B}" presName="thinLine2b" presStyleLbl="callout" presStyleIdx="0" presStyleCnt="6"/>
      <dgm:spPr/>
    </dgm:pt>
    <dgm:pt modelId="{55E7BB1E-200D-464D-AF5A-962F7BFE765C}" type="pres">
      <dgm:prSet presAssocID="{A3B94DB8-DFD7-4C95-9F93-09A46156B87B}" presName="vertSpace2b" presStyleCnt="0"/>
      <dgm:spPr/>
    </dgm:pt>
    <dgm:pt modelId="{5471BB02-9868-4E3F-A3BA-4A4DEF42F779}" type="pres">
      <dgm:prSet presAssocID="{7BCE9F3C-A2F9-4F04-8925-6FD93FB2CB4B}" presName="horz2" presStyleCnt="0"/>
      <dgm:spPr/>
    </dgm:pt>
    <dgm:pt modelId="{AE6F658C-75CC-469B-B540-C5FF24E9ACC5}" type="pres">
      <dgm:prSet presAssocID="{7BCE9F3C-A2F9-4F04-8925-6FD93FB2CB4B}" presName="horzSpace2" presStyleCnt="0"/>
      <dgm:spPr/>
    </dgm:pt>
    <dgm:pt modelId="{3036DDB2-AE06-468F-96F2-D888D3CAE9AC}" type="pres">
      <dgm:prSet presAssocID="{7BCE9F3C-A2F9-4F04-8925-6FD93FB2CB4B}" presName="tx2" presStyleLbl="revTx" presStyleIdx="2" presStyleCnt="7"/>
      <dgm:spPr/>
    </dgm:pt>
    <dgm:pt modelId="{3456A619-80C7-4A79-8BE9-A952FC2C3BE4}" type="pres">
      <dgm:prSet presAssocID="{7BCE9F3C-A2F9-4F04-8925-6FD93FB2CB4B}" presName="vert2" presStyleCnt="0"/>
      <dgm:spPr/>
    </dgm:pt>
    <dgm:pt modelId="{25CA783D-804A-4718-A65F-D633E2551F2E}" type="pres">
      <dgm:prSet presAssocID="{7BCE9F3C-A2F9-4F04-8925-6FD93FB2CB4B}" presName="thinLine2b" presStyleLbl="callout" presStyleIdx="1" presStyleCnt="6"/>
      <dgm:spPr/>
    </dgm:pt>
    <dgm:pt modelId="{53F8AB8F-85C7-440B-BAB2-81577EF98E58}" type="pres">
      <dgm:prSet presAssocID="{7BCE9F3C-A2F9-4F04-8925-6FD93FB2CB4B}" presName="vertSpace2b" presStyleCnt="0"/>
      <dgm:spPr/>
    </dgm:pt>
    <dgm:pt modelId="{3DCA3E6C-D650-410B-97B5-1A1EE7FDB7A7}" type="pres">
      <dgm:prSet presAssocID="{667DA366-BF4C-4CD2-9312-53D6283AD757}" presName="horz2" presStyleCnt="0"/>
      <dgm:spPr/>
    </dgm:pt>
    <dgm:pt modelId="{1FE980AA-8F8A-4536-8842-4B10250463BB}" type="pres">
      <dgm:prSet presAssocID="{667DA366-BF4C-4CD2-9312-53D6283AD757}" presName="horzSpace2" presStyleCnt="0"/>
      <dgm:spPr/>
    </dgm:pt>
    <dgm:pt modelId="{8E20EA2B-965A-4571-89D8-0F22CC839CD2}" type="pres">
      <dgm:prSet presAssocID="{667DA366-BF4C-4CD2-9312-53D6283AD757}" presName="tx2" presStyleLbl="revTx" presStyleIdx="3" presStyleCnt="7"/>
      <dgm:spPr/>
    </dgm:pt>
    <dgm:pt modelId="{3F41E68B-FF00-4797-8C81-2FC470DDEEAB}" type="pres">
      <dgm:prSet presAssocID="{667DA366-BF4C-4CD2-9312-53D6283AD757}" presName="vert2" presStyleCnt="0"/>
      <dgm:spPr/>
    </dgm:pt>
    <dgm:pt modelId="{AABD15F3-D132-4FB4-AFDE-99D83C156B52}" type="pres">
      <dgm:prSet presAssocID="{667DA366-BF4C-4CD2-9312-53D6283AD757}" presName="thinLine2b" presStyleLbl="callout" presStyleIdx="2" presStyleCnt="6"/>
      <dgm:spPr/>
    </dgm:pt>
    <dgm:pt modelId="{4A757614-5267-402D-95E6-69DC8A52FA4F}" type="pres">
      <dgm:prSet presAssocID="{667DA366-BF4C-4CD2-9312-53D6283AD757}" presName="vertSpace2b" presStyleCnt="0"/>
      <dgm:spPr/>
    </dgm:pt>
    <dgm:pt modelId="{7B0B556D-B27D-4886-A5B9-9D07DEBFA3A1}" type="pres">
      <dgm:prSet presAssocID="{5E182131-1D6B-443F-B7C1-7545257894B2}" presName="horz2" presStyleCnt="0"/>
      <dgm:spPr/>
    </dgm:pt>
    <dgm:pt modelId="{C22C9F62-F677-4737-804C-4F5A3A0528D9}" type="pres">
      <dgm:prSet presAssocID="{5E182131-1D6B-443F-B7C1-7545257894B2}" presName="horzSpace2" presStyleCnt="0"/>
      <dgm:spPr/>
    </dgm:pt>
    <dgm:pt modelId="{CEFC418A-23D7-4D55-A0FE-F1A0703D62CF}" type="pres">
      <dgm:prSet presAssocID="{5E182131-1D6B-443F-B7C1-7545257894B2}" presName="tx2" presStyleLbl="revTx" presStyleIdx="4" presStyleCnt="7"/>
      <dgm:spPr/>
    </dgm:pt>
    <dgm:pt modelId="{A6767CC8-6F14-4033-A74F-71C566DF377D}" type="pres">
      <dgm:prSet presAssocID="{5E182131-1D6B-443F-B7C1-7545257894B2}" presName="vert2" presStyleCnt="0"/>
      <dgm:spPr/>
    </dgm:pt>
    <dgm:pt modelId="{92CE6935-93BE-4AE4-A6FA-BCF135B33571}" type="pres">
      <dgm:prSet presAssocID="{5E182131-1D6B-443F-B7C1-7545257894B2}" presName="thinLine2b" presStyleLbl="callout" presStyleIdx="3" presStyleCnt="6"/>
      <dgm:spPr/>
    </dgm:pt>
    <dgm:pt modelId="{5F312D2E-5BE7-4AA1-B64D-0FEC4A9F7A9A}" type="pres">
      <dgm:prSet presAssocID="{5E182131-1D6B-443F-B7C1-7545257894B2}" presName="vertSpace2b" presStyleCnt="0"/>
      <dgm:spPr/>
    </dgm:pt>
    <dgm:pt modelId="{6D57A972-0113-4B42-BD28-8FF1D684970C}" type="pres">
      <dgm:prSet presAssocID="{9548D4EB-E13A-4C16-A48F-CECC74A62EBA}" presName="horz2" presStyleCnt="0"/>
      <dgm:spPr/>
    </dgm:pt>
    <dgm:pt modelId="{B66468C1-22F8-41A2-9E40-3129BF72DABB}" type="pres">
      <dgm:prSet presAssocID="{9548D4EB-E13A-4C16-A48F-CECC74A62EBA}" presName="horzSpace2" presStyleCnt="0"/>
      <dgm:spPr/>
    </dgm:pt>
    <dgm:pt modelId="{44D419E0-7A45-4EDE-9CAF-33192D17489F}" type="pres">
      <dgm:prSet presAssocID="{9548D4EB-E13A-4C16-A48F-CECC74A62EBA}" presName="tx2" presStyleLbl="revTx" presStyleIdx="5" presStyleCnt="7"/>
      <dgm:spPr/>
    </dgm:pt>
    <dgm:pt modelId="{5FFAC50E-74EA-4787-9D7B-98BA8F906B61}" type="pres">
      <dgm:prSet presAssocID="{9548D4EB-E13A-4C16-A48F-CECC74A62EBA}" presName="vert2" presStyleCnt="0"/>
      <dgm:spPr/>
    </dgm:pt>
    <dgm:pt modelId="{B37EE827-1F0A-4D90-AC5C-14715A36C966}" type="pres">
      <dgm:prSet presAssocID="{9548D4EB-E13A-4C16-A48F-CECC74A62EBA}" presName="thinLine2b" presStyleLbl="callout" presStyleIdx="4" presStyleCnt="6"/>
      <dgm:spPr/>
    </dgm:pt>
    <dgm:pt modelId="{47AEE65D-E2A8-4AD8-B5CD-BBDC4833A950}" type="pres">
      <dgm:prSet presAssocID="{9548D4EB-E13A-4C16-A48F-CECC74A62EBA}" presName="vertSpace2b" presStyleCnt="0"/>
      <dgm:spPr/>
    </dgm:pt>
    <dgm:pt modelId="{7EC6FF1C-25A4-4DB7-AF3D-096CBEC8AE20}" type="pres">
      <dgm:prSet presAssocID="{F0DDEA2A-521A-4B14-A5D9-EB601CC25FE8}" presName="horz2" presStyleCnt="0"/>
      <dgm:spPr/>
    </dgm:pt>
    <dgm:pt modelId="{C3AB76ED-C19B-415B-905F-A87D1F8870ED}" type="pres">
      <dgm:prSet presAssocID="{F0DDEA2A-521A-4B14-A5D9-EB601CC25FE8}" presName="horzSpace2" presStyleCnt="0"/>
      <dgm:spPr/>
    </dgm:pt>
    <dgm:pt modelId="{6BBB7369-F88E-416A-8EE4-F27EE06C5620}" type="pres">
      <dgm:prSet presAssocID="{F0DDEA2A-521A-4B14-A5D9-EB601CC25FE8}" presName="tx2" presStyleLbl="revTx" presStyleIdx="6" presStyleCnt="7"/>
      <dgm:spPr/>
    </dgm:pt>
    <dgm:pt modelId="{85C9F046-04A3-49B9-9EDA-2BB8706F9E92}" type="pres">
      <dgm:prSet presAssocID="{F0DDEA2A-521A-4B14-A5D9-EB601CC25FE8}" presName="vert2" presStyleCnt="0"/>
      <dgm:spPr/>
    </dgm:pt>
    <dgm:pt modelId="{BE967B57-0147-4930-8A8F-88958A2ECA63}" type="pres">
      <dgm:prSet presAssocID="{F0DDEA2A-521A-4B14-A5D9-EB601CC25FE8}" presName="thinLine2b" presStyleLbl="callout" presStyleIdx="5" presStyleCnt="6"/>
      <dgm:spPr/>
    </dgm:pt>
    <dgm:pt modelId="{E11881C5-B4B7-442D-85B8-C156A94E0595}" type="pres">
      <dgm:prSet presAssocID="{F0DDEA2A-521A-4B14-A5D9-EB601CC25FE8}" presName="vertSpace2b" presStyleCnt="0"/>
      <dgm:spPr/>
    </dgm:pt>
  </dgm:ptLst>
  <dgm:cxnLst>
    <dgm:cxn modelId="{2254F702-9668-4E3A-8D7F-B65B27A7D13C}" type="presOf" srcId="{7BCE9F3C-A2F9-4F04-8925-6FD93FB2CB4B}" destId="{3036DDB2-AE06-468F-96F2-D888D3CAE9AC}" srcOrd="0" destOrd="0" presId="urn:microsoft.com/office/officeart/2008/layout/LinedList"/>
    <dgm:cxn modelId="{9B250C17-66E4-405D-BAE5-85EA6DD5920B}" srcId="{3A900EE5-6ABC-473D-89DD-61495AA4E2CB}" destId="{A3B94DB8-DFD7-4C95-9F93-09A46156B87B}" srcOrd="0" destOrd="0" parTransId="{0C150446-767F-4711-8E2B-F9FF68286286}" sibTransId="{BAEE7C04-A2E3-4F0C-A415-B340994CAFF0}"/>
    <dgm:cxn modelId="{5446692E-3903-4A5F-A467-167DAC32E4AE}" srcId="{3A900EE5-6ABC-473D-89DD-61495AA4E2CB}" destId="{F0DDEA2A-521A-4B14-A5D9-EB601CC25FE8}" srcOrd="5" destOrd="0" parTransId="{00CAC3E0-6B9B-42F5-97B1-113A51555DCA}" sibTransId="{784179CB-7827-41C6-AB77-48B31E6FFBB1}"/>
    <dgm:cxn modelId="{5400A333-4600-4AEC-9641-32B47E05A80C}" srcId="{3A900EE5-6ABC-473D-89DD-61495AA4E2CB}" destId="{9548D4EB-E13A-4C16-A48F-CECC74A62EBA}" srcOrd="4" destOrd="0" parTransId="{8DBEF695-F055-4225-A744-A0680DA46314}" sibTransId="{563C7E53-1A3C-4151-B431-F28DD7A19CDF}"/>
    <dgm:cxn modelId="{AEAAAC73-7470-438E-806A-86AF93F616E4}" type="presOf" srcId="{667DA366-BF4C-4CD2-9312-53D6283AD757}" destId="{8E20EA2B-965A-4571-89D8-0F22CC839CD2}" srcOrd="0" destOrd="0" presId="urn:microsoft.com/office/officeart/2008/layout/LinedList"/>
    <dgm:cxn modelId="{13B5CB74-78B8-4B23-B121-D66EC6D783D4}" type="presOf" srcId="{3A900EE5-6ABC-473D-89DD-61495AA4E2CB}" destId="{04001C80-5663-468B-80EC-4159CF79AA16}" srcOrd="0" destOrd="0" presId="urn:microsoft.com/office/officeart/2008/layout/LinedList"/>
    <dgm:cxn modelId="{8CF3077F-0260-4FC3-87BF-FCEAFE8E4856}" srcId="{3A900EE5-6ABC-473D-89DD-61495AA4E2CB}" destId="{667DA366-BF4C-4CD2-9312-53D6283AD757}" srcOrd="2" destOrd="0" parTransId="{73E61E56-6ED4-4BD3-BD42-E76B51FF3093}" sibTransId="{E0547A27-3677-4E23-9845-C26225222A56}"/>
    <dgm:cxn modelId="{96138C86-C542-4131-8B59-E2589C27B9B5}" type="presOf" srcId="{5E182131-1D6B-443F-B7C1-7545257894B2}" destId="{CEFC418A-23D7-4D55-A0FE-F1A0703D62CF}" srcOrd="0" destOrd="0" presId="urn:microsoft.com/office/officeart/2008/layout/LinedList"/>
    <dgm:cxn modelId="{0819CB95-0036-48A7-96D4-7A72B3E48D24}" srcId="{3A900EE5-6ABC-473D-89DD-61495AA4E2CB}" destId="{5E182131-1D6B-443F-B7C1-7545257894B2}" srcOrd="3" destOrd="0" parTransId="{96693932-0163-4CC6-B6CC-14725E621F29}" sibTransId="{BED78FAD-9B28-411F-A517-56D512BB709A}"/>
    <dgm:cxn modelId="{A095B0A2-4DB5-4ADB-AB47-DD1F45309011}" type="presOf" srcId="{A3B94DB8-DFD7-4C95-9F93-09A46156B87B}" destId="{FA7B188E-0470-494B-A0AA-76CA1D7FB0CC}" srcOrd="0" destOrd="0" presId="urn:microsoft.com/office/officeart/2008/layout/LinedList"/>
    <dgm:cxn modelId="{534E4DA8-3CB3-41AB-9B30-A05237CF1661}" type="presOf" srcId="{F0DDEA2A-521A-4B14-A5D9-EB601CC25FE8}" destId="{6BBB7369-F88E-416A-8EE4-F27EE06C5620}" srcOrd="0" destOrd="0" presId="urn:microsoft.com/office/officeart/2008/layout/LinedList"/>
    <dgm:cxn modelId="{653D19B3-5D95-493D-B33B-1FFC9D36D560}" type="presOf" srcId="{9548D4EB-E13A-4C16-A48F-CECC74A62EBA}" destId="{44D419E0-7A45-4EDE-9CAF-33192D17489F}" srcOrd="0" destOrd="0" presId="urn:microsoft.com/office/officeart/2008/layout/LinedList"/>
    <dgm:cxn modelId="{B08548CF-8C3F-4724-B6B8-413D57EFB597}" type="presOf" srcId="{DFFE9291-41DA-481A-A814-57CBF3B8233C}" destId="{4FC5EEE9-01BC-4272-873A-C94183CA92C1}" srcOrd="0" destOrd="0" presId="urn:microsoft.com/office/officeart/2008/layout/LinedList"/>
    <dgm:cxn modelId="{720C08E3-69CB-4315-8C5A-7B74280E3B54}" srcId="{DFFE9291-41DA-481A-A814-57CBF3B8233C}" destId="{3A900EE5-6ABC-473D-89DD-61495AA4E2CB}" srcOrd="0" destOrd="0" parTransId="{EAD39A5E-D727-40DA-B238-8D4D66D20B8C}" sibTransId="{CED31F82-5B0D-4FB8-BFAE-BE47BC01B5D2}"/>
    <dgm:cxn modelId="{EC0BA2EB-DB53-4198-B541-D78A37CA2C7D}" srcId="{3A900EE5-6ABC-473D-89DD-61495AA4E2CB}" destId="{7BCE9F3C-A2F9-4F04-8925-6FD93FB2CB4B}" srcOrd="1" destOrd="0" parTransId="{972A7DB9-0270-46DB-8D26-D6BA76ADDB63}" sibTransId="{16D6DEFC-E829-4E57-B8F4-DB131843CD2F}"/>
    <dgm:cxn modelId="{4BB9BF5C-40A0-4B2B-B649-DC2C77D4A30B}" type="presParOf" srcId="{4FC5EEE9-01BC-4272-873A-C94183CA92C1}" destId="{9DD2F767-96F1-47F0-9B98-21D237EA4B9E}" srcOrd="0" destOrd="0" presId="urn:microsoft.com/office/officeart/2008/layout/LinedList"/>
    <dgm:cxn modelId="{5A1E12B2-CC52-4FD6-AF69-8D663F98495C}" type="presParOf" srcId="{4FC5EEE9-01BC-4272-873A-C94183CA92C1}" destId="{76C57D79-4DAF-45EF-910F-44B46EEB1FEA}" srcOrd="1" destOrd="0" presId="urn:microsoft.com/office/officeart/2008/layout/LinedList"/>
    <dgm:cxn modelId="{1D9E2D21-E483-4E81-84E9-489A4D068FB8}" type="presParOf" srcId="{76C57D79-4DAF-45EF-910F-44B46EEB1FEA}" destId="{04001C80-5663-468B-80EC-4159CF79AA16}" srcOrd="0" destOrd="0" presId="urn:microsoft.com/office/officeart/2008/layout/LinedList"/>
    <dgm:cxn modelId="{0D6A148A-0A7E-4176-9F5A-59946FEFD0D3}" type="presParOf" srcId="{76C57D79-4DAF-45EF-910F-44B46EEB1FEA}" destId="{469DF00B-F79B-42D0-AC2A-FA42C1A9507C}" srcOrd="1" destOrd="0" presId="urn:microsoft.com/office/officeart/2008/layout/LinedList"/>
    <dgm:cxn modelId="{2690EFB7-7272-47B1-9670-BC8D0DD93CC9}" type="presParOf" srcId="{469DF00B-F79B-42D0-AC2A-FA42C1A9507C}" destId="{0C40BA08-A138-4BB6-BFF2-0D494DA37761}" srcOrd="0" destOrd="0" presId="urn:microsoft.com/office/officeart/2008/layout/LinedList"/>
    <dgm:cxn modelId="{226FF05A-5CFC-4D54-9F00-757670E2DDCA}" type="presParOf" srcId="{469DF00B-F79B-42D0-AC2A-FA42C1A9507C}" destId="{974F8961-E9CE-4BA0-8869-F0E19D408685}" srcOrd="1" destOrd="0" presId="urn:microsoft.com/office/officeart/2008/layout/LinedList"/>
    <dgm:cxn modelId="{B46513D6-922E-44B9-AEC7-98D1A36D3BD0}" type="presParOf" srcId="{974F8961-E9CE-4BA0-8869-F0E19D408685}" destId="{67613C53-6B4A-4285-B7DA-DC38E46BD909}" srcOrd="0" destOrd="0" presId="urn:microsoft.com/office/officeart/2008/layout/LinedList"/>
    <dgm:cxn modelId="{1633BF7D-994D-45E7-A5E5-5729A18A42AC}" type="presParOf" srcId="{974F8961-E9CE-4BA0-8869-F0E19D408685}" destId="{FA7B188E-0470-494B-A0AA-76CA1D7FB0CC}" srcOrd="1" destOrd="0" presId="urn:microsoft.com/office/officeart/2008/layout/LinedList"/>
    <dgm:cxn modelId="{CCEB92BD-8BEF-4395-8704-22C66B8D02AE}" type="presParOf" srcId="{974F8961-E9CE-4BA0-8869-F0E19D408685}" destId="{40377AE3-74FF-404D-B2DA-75B54F944AF0}" srcOrd="2" destOrd="0" presId="urn:microsoft.com/office/officeart/2008/layout/LinedList"/>
    <dgm:cxn modelId="{CEA2A0A1-B1C2-4AD8-9EBE-30640661A5F1}" type="presParOf" srcId="{469DF00B-F79B-42D0-AC2A-FA42C1A9507C}" destId="{E5774954-DE3E-4364-9724-9A5D74BA6EC6}" srcOrd="2" destOrd="0" presId="urn:microsoft.com/office/officeart/2008/layout/LinedList"/>
    <dgm:cxn modelId="{BCC80263-ADC8-4449-BB48-878AB64712B5}" type="presParOf" srcId="{469DF00B-F79B-42D0-AC2A-FA42C1A9507C}" destId="{55E7BB1E-200D-464D-AF5A-962F7BFE765C}" srcOrd="3" destOrd="0" presId="urn:microsoft.com/office/officeart/2008/layout/LinedList"/>
    <dgm:cxn modelId="{902CFB09-C21B-4999-8065-7E528928EDF5}" type="presParOf" srcId="{469DF00B-F79B-42D0-AC2A-FA42C1A9507C}" destId="{5471BB02-9868-4E3F-A3BA-4A4DEF42F779}" srcOrd="4" destOrd="0" presId="urn:microsoft.com/office/officeart/2008/layout/LinedList"/>
    <dgm:cxn modelId="{050648EE-4891-4280-8CCF-D9B8F86A6C27}" type="presParOf" srcId="{5471BB02-9868-4E3F-A3BA-4A4DEF42F779}" destId="{AE6F658C-75CC-469B-B540-C5FF24E9ACC5}" srcOrd="0" destOrd="0" presId="urn:microsoft.com/office/officeart/2008/layout/LinedList"/>
    <dgm:cxn modelId="{655895E2-0431-4317-AC8D-981BE47DA403}" type="presParOf" srcId="{5471BB02-9868-4E3F-A3BA-4A4DEF42F779}" destId="{3036DDB2-AE06-468F-96F2-D888D3CAE9AC}" srcOrd="1" destOrd="0" presId="urn:microsoft.com/office/officeart/2008/layout/LinedList"/>
    <dgm:cxn modelId="{60EDB672-FD18-4EFC-84D6-31C72E480A85}" type="presParOf" srcId="{5471BB02-9868-4E3F-A3BA-4A4DEF42F779}" destId="{3456A619-80C7-4A79-8BE9-A952FC2C3BE4}" srcOrd="2" destOrd="0" presId="urn:microsoft.com/office/officeart/2008/layout/LinedList"/>
    <dgm:cxn modelId="{7DD975A8-2564-47AB-8DC0-7C6615475209}" type="presParOf" srcId="{469DF00B-F79B-42D0-AC2A-FA42C1A9507C}" destId="{25CA783D-804A-4718-A65F-D633E2551F2E}" srcOrd="5" destOrd="0" presId="urn:microsoft.com/office/officeart/2008/layout/LinedList"/>
    <dgm:cxn modelId="{AC996486-9A53-435A-9C42-4703753E7F4F}" type="presParOf" srcId="{469DF00B-F79B-42D0-AC2A-FA42C1A9507C}" destId="{53F8AB8F-85C7-440B-BAB2-81577EF98E58}" srcOrd="6" destOrd="0" presId="urn:microsoft.com/office/officeart/2008/layout/LinedList"/>
    <dgm:cxn modelId="{551E0E68-06C4-4B5F-8F1B-BF51777F8B1B}" type="presParOf" srcId="{469DF00B-F79B-42D0-AC2A-FA42C1A9507C}" destId="{3DCA3E6C-D650-410B-97B5-1A1EE7FDB7A7}" srcOrd="7" destOrd="0" presId="urn:microsoft.com/office/officeart/2008/layout/LinedList"/>
    <dgm:cxn modelId="{80024187-4C8B-468F-9EF2-AD74646E6CD6}" type="presParOf" srcId="{3DCA3E6C-D650-410B-97B5-1A1EE7FDB7A7}" destId="{1FE980AA-8F8A-4536-8842-4B10250463BB}" srcOrd="0" destOrd="0" presId="urn:microsoft.com/office/officeart/2008/layout/LinedList"/>
    <dgm:cxn modelId="{A268AB73-8BD6-4ADD-B7D7-CDF4B677FEC6}" type="presParOf" srcId="{3DCA3E6C-D650-410B-97B5-1A1EE7FDB7A7}" destId="{8E20EA2B-965A-4571-89D8-0F22CC839CD2}" srcOrd="1" destOrd="0" presId="urn:microsoft.com/office/officeart/2008/layout/LinedList"/>
    <dgm:cxn modelId="{A78A574A-555B-4C90-AC9D-E441C26F1D93}" type="presParOf" srcId="{3DCA3E6C-D650-410B-97B5-1A1EE7FDB7A7}" destId="{3F41E68B-FF00-4797-8C81-2FC470DDEEAB}" srcOrd="2" destOrd="0" presId="urn:microsoft.com/office/officeart/2008/layout/LinedList"/>
    <dgm:cxn modelId="{BE5B4EB7-D44A-4B4D-BB95-F6C451C89268}" type="presParOf" srcId="{469DF00B-F79B-42D0-AC2A-FA42C1A9507C}" destId="{AABD15F3-D132-4FB4-AFDE-99D83C156B52}" srcOrd="8" destOrd="0" presId="urn:microsoft.com/office/officeart/2008/layout/LinedList"/>
    <dgm:cxn modelId="{2A3E0CAF-397F-4341-A84A-F3F55D850B91}" type="presParOf" srcId="{469DF00B-F79B-42D0-AC2A-FA42C1A9507C}" destId="{4A757614-5267-402D-95E6-69DC8A52FA4F}" srcOrd="9" destOrd="0" presId="urn:microsoft.com/office/officeart/2008/layout/LinedList"/>
    <dgm:cxn modelId="{105CB468-71A9-4F12-BC47-DCCC5358FCFD}" type="presParOf" srcId="{469DF00B-F79B-42D0-AC2A-FA42C1A9507C}" destId="{7B0B556D-B27D-4886-A5B9-9D07DEBFA3A1}" srcOrd="10" destOrd="0" presId="urn:microsoft.com/office/officeart/2008/layout/LinedList"/>
    <dgm:cxn modelId="{157E0BC3-3FC5-4B79-8C44-D6A0B4CF693C}" type="presParOf" srcId="{7B0B556D-B27D-4886-A5B9-9D07DEBFA3A1}" destId="{C22C9F62-F677-4737-804C-4F5A3A0528D9}" srcOrd="0" destOrd="0" presId="urn:microsoft.com/office/officeart/2008/layout/LinedList"/>
    <dgm:cxn modelId="{C2D42799-44EB-4575-8D7D-28E1E62FDD4A}" type="presParOf" srcId="{7B0B556D-B27D-4886-A5B9-9D07DEBFA3A1}" destId="{CEFC418A-23D7-4D55-A0FE-F1A0703D62CF}" srcOrd="1" destOrd="0" presId="urn:microsoft.com/office/officeart/2008/layout/LinedList"/>
    <dgm:cxn modelId="{52802947-01A8-4FD1-8CA2-AE5CD99585A7}" type="presParOf" srcId="{7B0B556D-B27D-4886-A5B9-9D07DEBFA3A1}" destId="{A6767CC8-6F14-4033-A74F-71C566DF377D}" srcOrd="2" destOrd="0" presId="urn:microsoft.com/office/officeart/2008/layout/LinedList"/>
    <dgm:cxn modelId="{8BBA4881-AA63-4D72-BE09-2E62EEFCECF0}" type="presParOf" srcId="{469DF00B-F79B-42D0-AC2A-FA42C1A9507C}" destId="{92CE6935-93BE-4AE4-A6FA-BCF135B33571}" srcOrd="11" destOrd="0" presId="urn:microsoft.com/office/officeart/2008/layout/LinedList"/>
    <dgm:cxn modelId="{E94B156E-7FB2-4ADD-AAC7-C1D51766F183}" type="presParOf" srcId="{469DF00B-F79B-42D0-AC2A-FA42C1A9507C}" destId="{5F312D2E-5BE7-4AA1-B64D-0FEC4A9F7A9A}" srcOrd="12" destOrd="0" presId="urn:microsoft.com/office/officeart/2008/layout/LinedList"/>
    <dgm:cxn modelId="{FF604D36-095E-4D14-8FE3-C8D79D15CC05}" type="presParOf" srcId="{469DF00B-F79B-42D0-AC2A-FA42C1A9507C}" destId="{6D57A972-0113-4B42-BD28-8FF1D684970C}" srcOrd="13" destOrd="0" presId="urn:microsoft.com/office/officeart/2008/layout/LinedList"/>
    <dgm:cxn modelId="{FAF1E447-8B22-4FB3-955F-A5F72F698E68}" type="presParOf" srcId="{6D57A972-0113-4B42-BD28-8FF1D684970C}" destId="{B66468C1-22F8-41A2-9E40-3129BF72DABB}" srcOrd="0" destOrd="0" presId="urn:microsoft.com/office/officeart/2008/layout/LinedList"/>
    <dgm:cxn modelId="{F8CCD916-48CD-47BA-AF10-4F04B4A473A9}" type="presParOf" srcId="{6D57A972-0113-4B42-BD28-8FF1D684970C}" destId="{44D419E0-7A45-4EDE-9CAF-33192D17489F}" srcOrd="1" destOrd="0" presId="urn:microsoft.com/office/officeart/2008/layout/LinedList"/>
    <dgm:cxn modelId="{22DC3DB3-1115-49B3-B776-5A39AE61D5C2}" type="presParOf" srcId="{6D57A972-0113-4B42-BD28-8FF1D684970C}" destId="{5FFAC50E-74EA-4787-9D7B-98BA8F906B61}" srcOrd="2" destOrd="0" presId="urn:microsoft.com/office/officeart/2008/layout/LinedList"/>
    <dgm:cxn modelId="{BDACDD5F-1CDC-4A2A-B5BF-09032F760561}" type="presParOf" srcId="{469DF00B-F79B-42D0-AC2A-FA42C1A9507C}" destId="{B37EE827-1F0A-4D90-AC5C-14715A36C966}" srcOrd="14" destOrd="0" presId="urn:microsoft.com/office/officeart/2008/layout/LinedList"/>
    <dgm:cxn modelId="{2E24100F-9D24-4772-921C-3390D4F8474D}" type="presParOf" srcId="{469DF00B-F79B-42D0-AC2A-FA42C1A9507C}" destId="{47AEE65D-E2A8-4AD8-B5CD-BBDC4833A950}" srcOrd="15" destOrd="0" presId="urn:microsoft.com/office/officeart/2008/layout/LinedList"/>
    <dgm:cxn modelId="{FB711881-CE0C-4F34-8F51-2D43A15DD108}" type="presParOf" srcId="{469DF00B-F79B-42D0-AC2A-FA42C1A9507C}" destId="{7EC6FF1C-25A4-4DB7-AF3D-096CBEC8AE20}" srcOrd="16" destOrd="0" presId="urn:microsoft.com/office/officeart/2008/layout/LinedList"/>
    <dgm:cxn modelId="{A8E2C7ED-7FE9-4473-AFAB-BDF39A716F80}" type="presParOf" srcId="{7EC6FF1C-25A4-4DB7-AF3D-096CBEC8AE20}" destId="{C3AB76ED-C19B-415B-905F-A87D1F8870ED}" srcOrd="0" destOrd="0" presId="urn:microsoft.com/office/officeart/2008/layout/LinedList"/>
    <dgm:cxn modelId="{46B6771D-BC2D-464C-999F-3ECDABD1C120}" type="presParOf" srcId="{7EC6FF1C-25A4-4DB7-AF3D-096CBEC8AE20}" destId="{6BBB7369-F88E-416A-8EE4-F27EE06C5620}" srcOrd="1" destOrd="0" presId="urn:microsoft.com/office/officeart/2008/layout/LinedList"/>
    <dgm:cxn modelId="{77B0290F-8370-453F-9A04-E94AD0D10544}" type="presParOf" srcId="{7EC6FF1C-25A4-4DB7-AF3D-096CBEC8AE20}" destId="{85C9F046-04A3-49B9-9EDA-2BB8706F9E92}" srcOrd="2" destOrd="0" presId="urn:microsoft.com/office/officeart/2008/layout/LinedList"/>
    <dgm:cxn modelId="{8AE79CDC-3AAB-46A0-8785-D2514DF232C5}" type="presParOf" srcId="{469DF00B-F79B-42D0-AC2A-FA42C1A9507C}" destId="{BE967B57-0147-4930-8A8F-88958A2ECA63}" srcOrd="17" destOrd="0" presId="urn:microsoft.com/office/officeart/2008/layout/LinedList"/>
    <dgm:cxn modelId="{A724A57E-ED31-4F93-BCC2-FAB64A6A0145}" type="presParOf" srcId="{469DF00B-F79B-42D0-AC2A-FA42C1A9507C}" destId="{E11881C5-B4B7-442D-85B8-C156A94E0595}" srcOrd="18"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FFE9291-41DA-481A-A814-57CBF3B8233C}"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3A900EE5-6ABC-473D-89DD-61495AA4E2CB}">
      <dgm:prSet custT="1"/>
      <dgm:spPr/>
      <dgm:t>
        <a:bodyPr/>
        <a:lstStyle/>
        <a:p>
          <a:pPr algn="l"/>
          <a:r>
            <a:rPr lang="en-US" sz="2600" b="1" dirty="0"/>
            <a:t>Verbal conduct can be sexual harassment, such as unwanted:</a:t>
          </a:r>
        </a:p>
      </dgm:t>
    </dgm:pt>
    <dgm:pt modelId="{EAD39A5E-D727-40DA-B238-8D4D66D20B8C}" type="parTrans" cxnId="{720C08E3-69CB-4315-8C5A-7B74280E3B54}">
      <dgm:prSet/>
      <dgm:spPr/>
      <dgm:t>
        <a:bodyPr/>
        <a:lstStyle/>
        <a:p>
          <a:endParaRPr lang="en-US"/>
        </a:p>
      </dgm:t>
    </dgm:pt>
    <dgm:pt modelId="{CED31F82-5B0D-4FB8-BFAE-BE47BC01B5D2}" type="sibTrans" cxnId="{720C08E3-69CB-4315-8C5A-7B74280E3B54}">
      <dgm:prSet/>
      <dgm:spPr/>
      <dgm:t>
        <a:bodyPr/>
        <a:lstStyle/>
        <a:p>
          <a:endParaRPr lang="en-US"/>
        </a:p>
      </dgm:t>
    </dgm:pt>
    <dgm:pt modelId="{A3B94DB8-DFD7-4C95-9F93-09A46156B87B}">
      <dgm:prSet/>
      <dgm:spPr/>
      <dgm:t>
        <a:bodyPr/>
        <a:lstStyle/>
        <a:p>
          <a:r>
            <a:rPr lang="en-US"/>
            <a:t>Foul or obscene language</a:t>
          </a:r>
        </a:p>
      </dgm:t>
    </dgm:pt>
    <dgm:pt modelId="{0C150446-767F-4711-8E2B-F9FF68286286}" type="parTrans" cxnId="{9B250C17-66E4-405D-BAE5-85EA6DD5920B}">
      <dgm:prSet/>
      <dgm:spPr/>
      <dgm:t>
        <a:bodyPr/>
        <a:lstStyle/>
        <a:p>
          <a:endParaRPr lang="en-US"/>
        </a:p>
      </dgm:t>
    </dgm:pt>
    <dgm:pt modelId="{BAEE7C04-A2E3-4F0C-A415-B340994CAFF0}" type="sibTrans" cxnId="{9B250C17-66E4-405D-BAE5-85EA6DD5920B}">
      <dgm:prSet/>
      <dgm:spPr/>
      <dgm:t>
        <a:bodyPr/>
        <a:lstStyle/>
        <a:p>
          <a:endParaRPr lang="en-US"/>
        </a:p>
      </dgm:t>
    </dgm:pt>
    <dgm:pt modelId="{7BCE9F3C-A2F9-4F04-8925-6FD93FB2CB4B}">
      <dgm:prSet/>
      <dgm:spPr/>
      <dgm:t>
        <a:bodyPr/>
        <a:lstStyle/>
        <a:p>
          <a:r>
            <a:rPr lang="en-US" dirty="0"/>
            <a:t>Derogatory comments – sex or gender-based</a:t>
          </a:r>
        </a:p>
      </dgm:t>
    </dgm:pt>
    <dgm:pt modelId="{972A7DB9-0270-46DB-8D26-D6BA76ADDB63}" type="parTrans" cxnId="{EC0BA2EB-DB53-4198-B541-D78A37CA2C7D}">
      <dgm:prSet/>
      <dgm:spPr/>
      <dgm:t>
        <a:bodyPr/>
        <a:lstStyle/>
        <a:p>
          <a:endParaRPr lang="en-US"/>
        </a:p>
      </dgm:t>
    </dgm:pt>
    <dgm:pt modelId="{16D6DEFC-E829-4E57-B8F4-DB131843CD2F}" type="sibTrans" cxnId="{EC0BA2EB-DB53-4198-B541-D78A37CA2C7D}">
      <dgm:prSet/>
      <dgm:spPr/>
      <dgm:t>
        <a:bodyPr/>
        <a:lstStyle/>
        <a:p>
          <a:endParaRPr lang="en-US"/>
        </a:p>
      </dgm:t>
    </dgm:pt>
    <dgm:pt modelId="{667DA366-BF4C-4CD2-9312-53D6283AD757}">
      <dgm:prSet/>
      <dgm:spPr/>
      <dgm:t>
        <a:bodyPr/>
        <a:lstStyle/>
        <a:p>
          <a:r>
            <a:rPr lang="en-US"/>
            <a:t>Explicit discussions of sexual activities</a:t>
          </a:r>
        </a:p>
      </dgm:t>
    </dgm:pt>
    <dgm:pt modelId="{73E61E56-6ED4-4BD3-BD42-E76B51FF3093}" type="parTrans" cxnId="{8CF3077F-0260-4FC3-87BF-FCEAFE8E4856}">
      <dgm:prSet/>
      <dgm:spPr/>
      <dgm:t>
        <a:bodyPr/>
        <a:lstStyle/>
        <a:p>
          <a:endParaRPr lang="en-US"/>
        </a:p>
      </dgm:t>
    </dgm:pt>
    <dgm:pt modelId="{E0547A27-3677-4E23-9845-C26225222A56}" type="sibTrans" cxnId="{8CF3077F-0260-4FC3-87BF-FCEAFE8E4856}">
      <dgm:prSet/>
      <dgm:spPr/>
      <dgm:t>
        <a:bodyPr/>
        <a:lstStyle/>
        <a:p>
          <a:endParaRPr lang="en-US"/>
        </a:p>
      </dgm:t>
    </dgm:pt>
    <dgm:pt modelId="{5E182131-1D6B-443F-B7C1-7545257894B2}">
      <dgm:prSet/>
      <dgm:spPr/>
      <dgm:t>
        <a:bodyPr/>
        <a:lstStyle/>
        <a:p>
          <a:r>
            <a:rPr lang="en-US"/>
            <a:t>Comments about physical or sexual attributes</a:t>
          </a:r>
        </a:p>
      </dgm:t>
    </dgm:pt>
    <dgm:pt modelId="{96693932-0163-4CC6-B6CC-14725E621F29}" type="parTrans" cxnId="{0819CB95-0036-48A7-96D4-7A72B3E48D24}">
      <dgm:prSet/>
      <dgm:spPr/>
      <dgm:t>
        <a:bodyPr/>
        <a:lstStyle/>
        <a:p>
          <a:endParaRPr lang="en-US"/>
        </a:p>
      </dgm:t>
    </dgm:pt>
    <dgm:pt modelId="{BED78FAD-9B28-411F-A517-56D512BB709A}" type="sibTrans" cxnId="{0819CB95-0036-48A7-96D4-7A72B3E48D24}">
      <dgm:prSet/>
      <dgm:spPr/>
      <dgm:t>
        <a:bodyPr/>
        <a:lstStyle/>
        <a:p>
          <a:endParaRPr lang="en-US"/>
        </a:p>
      </dgm:t>
    </dgm:pt>
    <dgm:pt modelId="{9548D4EB-E13A-4C16-A48F-CECC74A62EBA}">
      <dgm:prSet/>
      <dgm:spPr/>
      <dgm:t>
        <a:bodyPr/>
        <a:lstStyle/>
        <a:p>
          <a:r>
            <a:rPr lang="en-US"/>
            <a:t>Sexual innuendo or sexual jokes</a:t>
          </a:r>
        </a:p>
      </dgm:t>
    </dgm:pt>
    <dgm:pt modelId="{8DBEF695-F055-4225-A744-A0680DA46314}" type="parTrans" cxnId="{5400A333-4600-4AEC-9641-32B47E05A80C}">
      <dgm:prSet/>
      <dgm:spPr/>
      <dgm:t>
        <a:bodyPr/>
        <a:lstStyle/>
        <a:p>
          <a:endParaRPr lang="en-US"/>
        </a:p>
      </dgm:t>
    </dgm:pt>
    <dgm:pt modelId="{563C7E53-1A3C-4151-B431-F28DD7A19CDF}" type="sibTrans" cxnId="{5400A333-4600-4AEC-9641-32B47E05A80C}">
      <dgm:prSet/>
      <dgm:spPr/>
      <dgm:t>
        <a:bodyPr/>
        <a:lstStyle/>
        <a:p>
          <a:endParaRPr lang="en-US"/>
        </a:p>
      </dgm:t>
    </dgm:pt>
    <dgm:pt modelId="{F0DDEA2A-521A-4B14-A5D9-EB601CC25FE8}">
      <dgm:prSet/>
      <dgm:spPr/>
      <dgm:t>
        <a:bodyPr/>
        <a:lstStyle/>
        <a:p>
          <a:r>
            <a:rPr lang="en-US"/>
            <a:t>Rumors</a:t>
          </a:r>
        </a:p>
      </dgm:t>
    </dgm:pt>
    <dgm:pt modelId="{00CAC3E0-6B9B-42F5-97B1-113A51555DCA}" type="parTrans" cxnId="{5446692E-3903-4A5F-A467-167DAC32E4AE}">
      <dgm:prSet/>
      <dgm:spPr/>
      <dgm:t>
        <a:bodyPr/>
        <a:lstStyle/>
        <a:p>
          <a:endParaRPr lang="en-US"/>
        </a:p>
      </dgm:t>
    </dgm:pt>
    <dgm:pt modelId="{784179CB-7827-41C6-AB77-48B31E6FFBB1}" type="sibTrans" cxnId="{5446692E-3903-4A5F-A467-167DAC32E4AE}">
      <dgm:prSet/>
      <dgm:spPr/>
      <dgm:t>
        <a:bodyPr/>
        <a:lstStyle/>
        <a:p>
          <a:endParaRPr lang="en-US"/>
        </a:p>
      </dgm:t>
    </dgm:pt>
    <dgm:pt modelId="{4FC5EEE9-01BC-4272-873A-C94183CA92C1}" type="pres">
      <dgm:prSet presAssocID="{DFFE9291-41DA-481A-A814-57CBF3B8233C}" presName="vert0" presStyleCnt="0">
        <dgm:presLayoutVars>
          <dgm:dir/>
          <dgm:animOne val="branch"/>
          <dgm:animLvl val="lvl"/>
        </dgm:presLayoutVars>
      </dgm:prSet>
      <dgm:spPr/>
    </dgm:pt>
    <dgm:pt modelId="{9DD2F767-96F1-47F0-9B98-21D237EA4B9E}" type="pres">
      <dgm:prSet presAssocID="{3A900EE5-6ABC-473D-89DD-61495AA4E2CB}" presName="thickLine" presStyleLbl="alignNode1" presStyleIdx="0" presStyleCnt="1"/>
      <dgm:spPr/>
    </dgm:pt>
    <dgm:pt modelId="{76C57D79-4DAF-45EF-910F-44B46EEB1FEA}" type="pres">
      <dgm:prSet presAssocID="{3A900EE5-6ABC-473D-89DD-61495AA4E2CB}" presName="horz1" presStyleCnt="0"/>
      <dgm:spPr/>
    </dgm:pt>
    <dgm:pt modelId="{04001C80-5663-468B-80EC-4159CF79AA16}" type="pres">
      <dgm:prSet presAssocID="{3A900EE5-6ABC-473D-89DD-61495AA4E2CB}" presName="tx1" presStyleLbl="revTx" presStyleIdx="0" presStyleCnt="7" custScaleX="163744" custLinFactNeighborX="442"/>
      <dgm:spPr/>
    </dgm:pt>
    <dgm:pt modelId="{469DF00B-F79B-42D0-AC2A-FA42C1A9507C}" type="pres">
      <dgm:prSet presAssocID="{3A900EE5-6ABC-473D-89DD-61495AA4E2CB}" presName="vert1" presStyleCnt="0"/>
      <dgm:spPr/>
    </dgm:pt>
    <dgm:pt modelId="{0C40BA08-A138-4BB6-BFF2-0D494DA37761}" type="pres">
      <dgm:prSet presAssocID="{A3B94DB8-DFD7-4C95-9F93-09A46156B87B}" presName="vertSpace2a" presStyleCnt="0"/>
      <dgm:spPr/>
    </dgm:pt>
    <dgm:pt modelId="{974F8961-E9CE-4BA0-8869-F0E19D408685}" type="pres">
      <dgm:prSet presAssocID="{A3B94DB8-DFD7-4C95-9F93-09A46156B87B}" presName="horz2" presStyleCnt="0"/>
      <dgm:spPr/>
    </dgm:pt>
    <dgm:pt modelId="{67613C53-6B4A-4285-B7DA-DC38E46BD909}" type="pres">
      <dgm:prSet presAssocID="{A3B94DB8-DFD7-4C95-9F93-09A46156B87B}" presName="horzSpace2" presStyleCnt="0"/>
      <dgm:spPr/>
    </dgm:pt>
    <dgm:pt modelId="{FA7B188E-0470-494B-A0AA-76CA1D7FB0CC}" type="pres">
      <dgm:prSet presAssocID="{A3B94DB8-DFD7-4C95-9F93-09A46156B87B}" presName="tx2" presStyleLbl="revTx" presStyleIdx="1" presStyleCnt="7"/>
      <dgm:spPr/>
    </dgm:pt>
    <dgm:pt modelId="{40377AE3-74FF-404D-B2DA-75B54F944AF0}" type="pres">
      <dgm:prSet presAssocID="{A3B94DB8-DFD7-4C95-9F93-09A46156B87B}" presName="vert2" presStyleCnt="0"/>
      <dgm:spPr/>
    </dgm:pt>
    <dgm:pt modelId="{E5774954-DE3E-4364-9724-9A5D74BA6EC6}" type="pres">
      <dgm:prSet presAssocID="{A3B94DB8-DFD7-4C95-9F93-09A46156B87B}" presName="thinLine2b" presStyleLbl="callout" presStyleIdx="0" presStyleCnt="6"/>
      <dgm:spPr/>
    </dgm:pt>
    <dgm:pt modelId="{55E7BB1E-200D-464D-AF5A-962F7BFE765C}" type="pres">
      <dgm:prSet presAssocID="{A3B94DB8-DFD7-4C95-9F93-09A46156B87B}" presName="vertSpace2b" presStyleCnt="0"/>
      <dgm:spPr/>
    </dgm:pt>
    <dgm:pt modelId="{5471BB02-9868-4E3F-A3BA-4A4DEF42F779}" type="pres">
      <dgm:prSet presAssocID="{7BCE9F3C-A2F9-4F04-8925-6FD93FB2CB4B}" presName="horz2" presStyleCnt="0"/>
      <dgm:spPr/>
    </dgm:pt>
    <dgm:pt modelId="{AE6F658C-75CC-469B-B540-C5FF24E9ACC5}" type="pres">
      <dgm:prSet presAssocID="{7BCE9F3C-A2F9-4F04-8925-6FD93FB2CB4B}" presName="horzSpace2" presStyleCnt="0"/>
      <dgm:spPr/>
    </dgm:pt>
    <dgm:pt modelId="{3036DDB2-AE06-468F-96F2-D888D3CAE9AC}" type="pres">
      <dgm:prSet presAssocID="{7BCE9F3C-A2F9-4F04-8925-6FD93FB2CB4B}" presName="tx2" presStyleLbl="revTx" presStyleIdx="2" presStyleCnt="7"/>
      <dgm:spPr/>
    </dgm:pt>
    <dgm:pt modelId="{3456A619-80C7-4A79-8BE9-A952FC2C3BE4}" type="pres">
      <dgm:prSet presAssocID="{7BCE9F3C-A2F9-4F04-8925-6FD93FB2CB4B}" presName="vert2" presStyleCnt="0"/>
      <dgm:spPr/>
    </dgm:pt>
    <dgm:pt modelId="{25CA783D-804A-4718-A65F-D633E2551F2E}" type="pres">
      <dgm:prSet presAssocID="{7BCE9F3C-A2F9-4F04-8925-6FD93FB2CB4B}" presName="thinLine2b" presStyleLbl="callout" presStyleIdx="1" presStyleCnt="6"/>
      <dgm:spPr/>
    </dgm:pt>
    <dgm:pt modelId="{53F8AB8F-85C7-440B-BAB2-81577EF98E58}" type="pres">
      <dgm:prSet presAssocID="{7BCE9F3C-A2F9-4F04-8925-6FD93FB2CB4B}" presName="vertSpace2b" presStyleCnt="0"/>
      <dgm:spPr/>
    </dgm:pt>
    <dgm:pt modelId="{3DCA3E6C-D650-410B-97B5-1A1EE7FDB7A7}" type="pres">
      <dgm:prSet presAssocID="{667DA366-BF4C-4CD2-9312-53D6283AD757}" presName="horz2" presStyleCnt="0"/>
      <dgm:spPr/>
    </dgm:pt>
    <dgm:pt modelId="{1FE980AA-8F8A-4536-8842-4B10250463BB}" type="pres">
      <dgm:prSet presAssocID="{667DA366-BF4C-4CD2-9312-53D6283AD757}" presName="horzSpace2" presStyleCnt="0"/>
      <dgm:spPr/>
    </dgm:pt>
    <dgm:pt modelId="{8E20EA2B-965A-4571-89D8-0F22CC839CD2}" type="pres">
      <dgm:prSet presAssocID="{667DA366-BF4C-4CD2-9312-53D6283AD757}" presName="tx2" presStyleLbl="revTx" presStyleIdx="3" presStyleCnt="7"/>
      <dgm:spPr/>
    </dgm:pt>
    <dgm:pt modelId="{3F41E68B-FF00-4797-8C81-2FC470DDEEAB}" type="pres">
      <dgm:prSet presAssocID="{667DA366-BF4C-4CD2-9312-53D6283AD757}" presName="vert2" presStyleCnt="0"/>
      <dgm:spPr/>
    </dgm:pt>
    <dgm:pt modelId="{AABD15F3-D132-4FB4-AFDE-99D83C156B52}" type="pres">
      <dgm:prSet presAssocID="{667DA366-BF4C-4CD2-9312-53D6283AD757}" presName="thinLine2b" presStyleLbl="callout" presStyleIdx="2" presStyleCnt="6"/>
      <dgm:spPr/>
    </dgm:pt>
    <dgm:pt modelId="{4A757614-5267-402D-95E6-69DC8A52FA4F}" type="pres">
      <dgm:prSet presAssocID="{667DA366-BF4C-4CD2-9312-53D6283AD757}" presName="vertSpace2b" presStyleCnt="0"/>
      <dgm:spPr/>
    </dgm:pt>
    <dgm:pt modelId="{7B0B556D-B27D-4886-A5B9-9D07DEBFA3A1}" type="pres">
      <dgm:prSet presAssocID="{5E182131-1D6B-443F-B7C1-7545257894B2}" presName="horz2" presStyleCnt="0"/>
      <dgm:spPr/>
    </dgm:pt>
    <dgm:pt modelId="{C22C9F62-F677-4737-804C-4F5A3A0528D9}" type="pres">
      <dgm:prSet presAssocID="{5E182131-1D6B-443F-B7C1-7545257894B2}" presName="horzSpace2" presStyleCnt="0"/>
      <dgm:spPr/>
    </dgm:pt>
    <dgm:pt modelId="{CEFC418A-23D7-4D55-A0FE-F1A0703D62CF}" type="pres">
      <dgm:prSet presAssocID="{5E182131-1D6B-443F-B7C1-7545257894B2}" presName="tx2" presStyleLbl="revTx" presStyleIdx="4" presStyleCnt="7"/>
      <dgm:spPr/>
    </dgm:pt>
    <dgm:pt modelId="{A6767CC8-6F14-4033-A74F-71C566DF377D}" type="pres">
      <dgm:prSet presAssocID="{5E182131-1D6B-443F-B7C1-7545257894B2}" presName="vert2" presStyleCnt="0"/>
      <dgm:spPr/>
    </dgm:pt>
    <dgm:pt modelId="{92CE6935-93BE-4AE4-A6FA-BCF135B33571}" type="pres">
      <dgm:prSet presAssocID="{5E182131-1D6B-443F-B7C1-7545257894B2}" presName="thinLine2b" presStyleLbl="callout" presStyleIdx="3" presStyleCnt="6"/>
      <dgm:spPr/>
    </dgm:pt>
    <dgm:pt modelId="{5F312D2E-5BE7-4AA1-B64D-0FEC4A9F7A9A}" type="pres">
      <dgm:prSet presAssocID="{5E182131-1D6B-443F-B7C1-7545257894B2}" presName="vertSpace2b" presStyleCnt="0"/>
      <dgm:spPr/>
    </dgm:pt>
    <dgm:pt modelId="{6D57A972-0113-4B42-BD28-8FF1D684970C}" type="pres">
      <dgm:prSet presAssocID="{9548D4EB-E13A-4C16-A48F-CECC74A62EBA}" presName="horz2" presStyleCnt="0"/>
      <dgm:spPr/>
    </dgm:pt>
    <dgm:pt modelId="{B66468C1-22F8-41A2-9E40-3129BF72DABB}" type="pres">
      <dgm:prSet presAssocID="{9548D4EB-E13A-4C16-A48F-CECC74A62EBA}" presName="horzSpace2" presStyleCnt="0"/>
      <dgm:spPr/>
    </dgm:pt>
    <dgm:pt modelId="{44D419E0-7A45-4EDE-9CAF-33192D17489F}" type="pres">
      <dgm:prSet presAssocID="{9548D4EB-E13A-4C16-A48F-CECC74A62EBA}" presName="tx2" presStyleLbl="revTx" presStyleIdx="5" presStyleCnt="7"/>
      <dgm:spPr/>
    </dgm:pt>
    <dgm:pt modelId="{5FFAC50E-74EA-4787-9D7B-98BA8F906B61}" type="pres">
      <dgm:prSet presAssocID="{9548D4EB-E13A-4C16-A48F-CECC74A62EBA}" presName="vert2" presStyleCnt="0"/>
      <dgm:spPr/>
    </dgm:pt>
    <dgm:pt modelId="{B37EE827-1F0A-4D90-AC5C-14715A36C966}" type="pres">
      <dgm:prSet presAssocID="{9548D4EB-E13A-4C16-A48F-CECC74A62EBA}" presName="thinLine2b" presStyleLbl="callout" presStyleIdx="4" presStyleCnt="6"/>
      <dgm:spPr/>
    </dgm:pt>
    <dgm:pt modelId="{47AEE65D-E2A8-4AD8-B5CD-BBDC4833A950}" type="pres">
      <dgm:prSet presAssocID="{9548D4EB-E13A-4C16-A48F-CECC74A62EBA}" presName="vertSpace2b" presStyleCnt="0"/>
      <dgm:spPr/>
    </dgm:pt>
    <dgm:pt modelId="{7EC6FF1C-25A4-4DB7-AF3D-096CBEC8AE20}" type="pres">
      <dgm:prSet presAssocID="{F0DDEA2A-521A-4B14-A5D9-EB601CC25FE8}" presName="horz2" presStyleCnt="0"/>
      <dgm:spPr/>
    </dgm:pt>
    <dgm:pt modelId="{C3AB76ED-C19B-415B-905F-A87D1F8870ED}" type="pres">
      <dgm:prSet presAssocID="{F0DDEA2A-521A-4B14-A5D9-EB601CC25FE8}" presName="horzSpace2" presStyleCnt="0"/>
      <dgm:spPr/>
    </dgm:pt>
    <dgm:pt modelId="{6BBB7369-F88E-416A-8EE4-F27EE06C5620}" type="pres">
      <dgm:prSet presAssocID="{F0DDEA2A-521A-4B14-A5D9-EB601CC25FE8}" presName="tx2" presStyleLbl="revTx" presStyleIdx="6" presStyleCnt="7"/>
      <dgm:spPr/>
    </dgm:pt>
    <dgm:pt modelId="{85C9F046-04A3-49B9-9EDA-2BB8706F9E92}" type="pres">
      <dgm:prSet presAssocID="{F0DDEA2A-521A-4B14-A5D9-EB601CC25FE8}" presName="vert2" presStyleCnt="0"/>
      <dgm:spPr/>
    </dgm:pt>
    <dgm:pt modelId="{BE967B57-0147-4930-8A8F-88958A2ECA63}" type="pres">
      <dgm:prSet presAssocID="{F0DDEA2A-521A-4B14-A5D9-EB601CC25FE8}" presName="thinLine2b" presStyleLbl="callout" presStyleIdx="5" presStyleCnt="6"/>
      <dgm:spPr/>
    </dgm:pt>
    <dgm:pt modelId="{E11881C5-B4B7-442D-85B8-C156A94E0595}" type="pres">
      <dgm:prSet presAssocID="{F0DDEA2A-521A-4B14-A5D9-EB601CC25FE8}" presName="vertSpace2b" presStyleCnt="0"/>
      <dgm:spPr/>
    </dgm:pt>
  </dgm:ptLst>
  <dgm:cxnLst>
    <dgm:cxn modelId="{2254F702-9668-4E3A-8D7F-B65B27A7D13C}" type="presOf" srcId="{7BCE9F3C-A2F9-4F04-8925-6FD93FB2CB4B}" destId="{3036DDB2-AE06-468F-96F2-D888D3CAE9AC}" srcOrd="0" destOrd="0" presId="urn:microsoft.com/office/officeart/2008/layout/LinedList"/>
    <dgm:cxn modelId="{9B250C17-66E4-405D-BAE5-85EA6DD5920B}" srcId="{3A900EE5-6ABC-473D-89DD-61495AA4E2CB}" destId="{A3B94DB8-DFD7-4C95-9F93-09A46156B87B}" srcOrd="0" destOrd="0" parTransId="{0C150446-767F-4711-8E2B-F9FF68286286}" sibTransId="{BAEE7C04-A2E3-4F0C-A415-B340994CAFF0}"/>
    <dgm:cxn modelId="{5446692E-3903-4A5F-A467-167DAC32E4AE}" srcId="{3A900EE5-6ABC-473D-89DD-61495AA4E2CB}" destId="{F0DDEA2A-521A-4B14-A5D9-EB601CC25FE8}" srcOrd="5" destOrd="0" parTransId="{00CAC3E0-6B9B-42F5-97B1-113A51555DCA}" sibTransId="{784179CB-7827-41C6-AB77-48B31E6FFBB1}"/>
    <dgm:cxn modelId="{5400A333-4600-4AEC-9641-32B47E05A80C}" srcId="{3A900EE5-6ABC-473D-89DD-61495AA4E2CB}" destId="{9548D4EB-E13A-4C16-A48F-CECC74A62EBA}" srcOrd="4" destOrd="0" parTransId="{8DBEF695-F055-4225-A744-A0680DA46314}" sibTransId="{563C7E53-1A3C-4151-B431-F28DD7A19CDF}"/>
    <dgm:cxn modelId="{AEAAAC73-7470-438E-806A-86AF93F616E4}" type="presOf" srcId="{667DA366-BF4C-4CD2-9312-53D6283AD757}" destId="{8E20EA2B-965A-4571-89D8-0F22CC839CD2}" srcOrd="0" destOrd="0" presId="urn:microsoft.com/office/officeart/2008/layout/LinedList"/>
    <dgm:cxn modelId="{13B5CB74-78B8-4B23-B121-D66EC6D783D4}" type="presOf" srcId="{3A900EE5-6ABC-473D-89DD-61495AA4E2CB}" destId="{04001C80-5663-468B-80EC-4159CF79AA16}" srcOrd="0" destOrd="0" presId="urn:microsoft.com/office/officeart/2008/layout/LinedList"/>
    <dgm:cxn modelId="{8CF3077F-0260-4FC3-87BF-FCEAFE8E4856}" srcId="{3A900EE5-6ABC-473D-89DD-61495AA4E2CB}" destId="{667DA366-BF4C-4CD2-9312-53D6283AD757}" srcOrd="2" destOrd="0" parTransId="{73E61E56-6ED4-4BD3-BD42-E76B51FF3093}" sibTransId="{E0547A27-3677-4E23-9845-C26225222A56}"/>
    <dgm:cxn modelId="{96138C86-C542-4131-8B59-E2589C27B9B5}" type="presOf" srcId="{5E182131-1D6B-443F-B7C1-7545257894B2}" destId="{CEFC418A-23D7-4D55-A0FE-F1A0703D62CF}" srcOrd="0" destOrd="0" presId="urn:microsoft.com/office/officeart/2008/layout/LinedList"/>
    <dgm:cxn modelId="{0819CB95-0036-48A7-96D4-7A72B3E48D24}" srcId="{3A900EE5-6ABC-473D-89DD-61495AA4E2CB}" destId="{5E182131-1D6B-443F-B7C1-7545257894B2}" srcOrd="3" destOrd="0" parTransId="{96693932-0163-4CC6-B6CC-14725E621F29}" sibTransId="{BED78FAD-9B28-411F-A517-56D512BB709A}"/>
    <dgm:cxn modelId="{A095B0A2-4DB5-4ADB-AB47-DD1F45309011}" type="presOf" srcId="{A3B94DB8-DFD7-4C95-9F93-09A46156B87B}" destId="{FA7B188E-0470-494B-A0AA-76CA1D7FB0CC}" srcOrd="0" destOrd="0" presId="urn:microsoft.com/office/officeart/2008/layout/LinedList"/>
    <dgm:cxn modelId="{534E4DA8-3CB3-41AB-9B30-A05237CF1661}" type="presOf" srcId="{F0DDEA2A-521A-4B14-A5D9-EB601CC25FE8}" destId="{6BBB7369-F88E-416A-8EE4-F27EE06C5620}" srcOrd="0" destOrd="0" presId="urn:microsoft.com/office/officeart/2008/layout/LinedList"/>
    <dgm:cxn modelId="{653D19B3-5D95-493D-B33B-1FFC9D36D560}" type="presOf" srcId="{9548D4EB-E13A-4C16-A48F-CECC74A62EBA}" destId="{44D419E0-7A45-4EDE-9CAF-33192D17489F}" srcOrd="0" destOrd="0" presId="urn:microsoft.com/office/officeart/2008/layout/LinedList"/>
    <dgm:cxn modelId="{B08548CF-8C3F-4724-B6B8-413D57EFB597}" type="presOf" srcId="{DFFE9291-41DA-481A-A814-57CBF3B8233C}" destId="{4FC5EEE9-01BC-4272-873A-C94183CA92C1}" srcOrd="0" destOrd="0" presId="urn:microsoft.com/office/officeart/2008/layout/LinedList"/>
    <dgm:cxn modelId="{720C08E3-69CB-4315-8C5A-7B74280E3B54}" srcId="{DFFE9291-41DA-481A-A814-57CBF3B8233C}" destId="{3A900EE5-6ABC-473D-89DD-61495AA4E2CB}" srcOrd="0" destOrd="0" parTransId="{EAD39A5E-D727-40DA-B238-8D4D66D20B8C}" sibTransId="{CED31F82-5B0D-4FB8-BFAE-BE47BC01B5D2}"/>
    <dgm:cxn modelId="{EC0BA2EB-DB53-4198-B541-D78A37CA2C7D}" srcId="{3A900EE5-6ABC-473D-89DD-61495AA4E2CB}" destId="{7BCE9F3C-A2F9-4F04-8925-6FD93FB2CB4B}" srcOrd="1" destOrd="0" parTransId="{972A7DB9-0270-46DB-8D26-D6BA76ADDB63}" sibTransId="{16D6DEFC-E829-4E57-B8F4-DB131843CD2F}"/>
    <dgm:cxn modelId="{4BB9BF5C-40A0-4B2B-B649-DC2C77D4A30B}" type="presParOf" srcId="{4FC5EEE9-01BC-4272-873A-C94183CA92C1}" destId="{9DD2F767-96F1-47F0-9B98-21D237EA4B9E}" srcOrd="0" destOrd="0" presId="urn:microsoft.com/office/officeart/2008/layout/LinedList"/>
    <dgm:cxn modelId="{5A1E12B2-CC52-4FD6-AF69-8D663F98495C}" type="presParOf" srcId="{4FC5EEE9-01BC-4272-873A-C94183CA92C1}" destId="{76C57D79-4DAF-45EF-910F-44B46EEB1FEA}" srcOrd="1" destOrd="0" presId="urn:microsoft.com/office/officeart/2008/layout/LinedList"/>
    <dgm:cxn modelId="{1D9E2D21-E483-4E81-84E9-489A4D068FB8}" type="presParOf" srcId="{76C57D79-4DAF-45EF-910F-44B46EEB1FEA}" destId="{04001C80-5663-468B-80EC-4159CF79AA16}" srcOrd="0" destOrd="0" presId="urn:microsoft.com/office/officeart/2008/layout/LinedList"/>
    <dgm:cxn modelId="{0D6A148A-0A7E-4176-9F5A-59946FEFD0D3}" type="presParOf" srcId="{76C57D79-4DAF-45EF-910F-44B46EEB1FEA}" destId="{469DF00B-F79B-42D0-AC2A-FA42C1A9507C}" srcOrd="1" destOrd="0" presId="urn:microsoft.com/office/officeart/2008/layout/LinedList"/>
    <dgm:cxn modelId="{2690EFB7-7272-47B1-9670-BC8D0DD93CC9}" type="presParOf" srcId="{469DF00B-F79B-42D0-AC2A-FA42C1A9507C}" destId="{0C40BA08-A138-4BB6-BFF2-0D494DA37761}" srcOrd="0" destOrd="0" presId="urn:microsoft.com/office/officeart/2008/layout/LinedList"/>
    <dgm:cxn modelId="{226FF05A-5CFC-4D54-9F00-757670E2DDCA}" type="presParOf" srcId="{469DF00B-F79B-42D0-AC2A-FA42C1A9507C}" destId="{974F8961-E9CE-4BA0-8869-F0E19D408685}" srcOrd="1" destOrd="0" presId="urn:microsoft.com/office/officeart/2008/layout/LinedList"/>
    <dgm:cxn modelId="{B46513D6-922E-44B9-AEC7-98D1A36D3BD0}" type="presParOf" srcId="{974F8961-E9CE-4BA0-8869-F0E19D408685}" destId="{67613C53-6B4A-4285-B7DA-DC38E46BD909}" srcOrd="0" destOrd="0" presId="urn:microsoft.com/office/officeart/2008/layout/LinedList"/>
    <dgm:cxn modelId="{1633BF7D-994D-45E7-A5E5-5729A18A42AC}" type="presParOf" srcId="{974F8961-E9CE-4BA0-8869-F0E19D408685}" destId="{FA7B188E-0470-494B-A0AA-76CA1D7FB0CC}" srcOrd="1" destOrd="0" presId="urn:microsoft.com/office/officeart/2008/layout/LinedList"/>
    <dgm:cxn modelId="{CCEB92BD-8BEF-4395-8704-22C66B8D02AE}" type="presParOf" srcId="{974F8961-E9CE-4BA0-8869-F0E19D408685}" destId="{40377AE3-74FF-404D-B2DA-75B54F944AF0}" srcOrd="2" destOrd="0" presId="urn:microsoft.com/office/officeart/2008/layout/LinedList"/>
    <dgm:cxn modelId="{CEA2A0A1-B1C2-4AD8-9EBE-30640661A5F1}" type="presParOf" srcId="{469DF00B-F79B-42D0-AC2A-FA42C1A9507C}" destId="{E5774954-DE3E-4364-9724-9A5D74BA6EC6}" srcOrd="2" destOrd="0" presId="urn:microsoft.com/office/officeart/2008/layout/LinedList"/>
    <dgm:cxn modelId="{BCC80263-ADC8-4449-BB48-878AB64712B5}" type="presParOf" srcId="{469DF00B-F79B-42D0-AC2A-FA42C1A9507C}" destId="{55E7BB1E-200D-464D-AF5A-962F7BFE765C}" srcOrd="3" destOrd="0" presId="urn:microsoft.com/office/officeart/2008/layout/LinedList"/>
    <dgm:cxn modelId="{902CFB09-C21B-4999-8065-7E528928EDF5}" type="presParOf" srcId="{469DF00B-F79B-42D0-AC2A-FA42C1A9507C}" destId="{5471BB02-9868-4E3F-A3BA-4A4DEF42F779}" srcOrd="4" destOrd="0" presId="urn:microsoft.com/office/officeart/2008/layout/LinedList"/>
    <dgm:cxn modelId="{050648EE-4891-4280-8CCF-D9B8F86A6C27}" type="presParOf" srcId="{5471BB02-9868-4E3F-A3BA-4A4DEF42F779}" destId="{AE6F658C-75CC-469B-B540-C5FF24E9ACC5}" srcOrd="0" destOrd="0" presId="urn:microsoft.com/office/officeart/2008/layout/LinedList"/>
    <dgm:cxn modelId="{655895E2-0431-4317-AC8D-981BE47DA403}" type="presParOf" srcId="{5471BB02-9868-4E3F-A3BA-4A4DEF42F779}" destId="{3036DDB2-AE06-468F-96F2-D888D3CAE9AC}" srcOrd="1" destOrd="0" presId="urn:microsoft.com/office/officeart/2008/layout/LinedList"/>
    <dgm:cxn modelId="{60EDB672-FD18-4EFC-84D6-31C72E480A85}" type="presParOf" srcId="{5471BB02-9868-4E3F-A3BA-4A4DEF42F779}" destId="{3456A619-80C7-4A79-8BE9-A952FC2C3BE4}" srcOrd="2" destOrd="0" presId="urn:microsoft.com/office/officeart/2008/layout/LinedList"/>
    <dgm:cxn modelId="{7DD975A8-2564-47AB-8DC0-7C6615475209}" type="presParOf" srcId="{469DF00B-F79B-42D0-AC2A-FA42C1A9507C}" destId="{25CA783D-804A-4718-A65F-D633E2551F2E}" srcOrd="5" destOrd="0" presId="urn:microsoft.com/office/officeart/2008/layout/LinedList"/>
    <dgm:cxn modelId="{AC996486-9A53-435A-9C42-4703753E7F4F}" type="presParOf" srcId="{469DF00B-F79B-42D0-AC2A-FA42C1A9507C}" destId="{53F8AB8F-85C7-440B-BAB2-81577EF98E58}" srcOrd="6" destOrd="0" presId="urn:microsoft.com/office/officeart/2008/layout/LinedList"/>
    <dgm:cxn modelId="{551E0E68-06C4-4B5F-8F1B-BF51777F8B1B}" type="presParOf" srcId="{469DF00B-F79B-42D0-AC2A-FA42C1A9507C}" destId="{3DCA3E6C-D650-410B-97B5-1A1EE7FDB7A7}" srcOrd="7" destOrd="0" presId="urn:microsoft.com/office/officeart/2008/layout/LinedList"/>
    <dgm:cxn modelId="{80024187-4C8B-468F-9EF2-AD74646E6CD6}" type="presParOf" srcId="{3DCA3E6C-D650-410B-97B5-1A1EE7FDB7A7}" destId="{1FE980AA-8F8A-4536-8842-4B10250463BB}" srcOrd="0" destOrd="0" presId="urn:microsoft.com/office/officeart/2008/layout/LinedList"/>
    <dgm:cxn modelId="{A268AB73-8BD6-4ADD-B7D7-CDF4B677FEC6}" type="presParOf" srcId="{3DCA3E6C-D650-410B-97B5-1A1EE7FDB7A7}" destId="{8E20EA2B-965A-4571-89D8-0F22CC839CD2}" srcOrd="1" destOrd="0" presId="urn:microsoft.com/office/officeart/2008/layout/LinedList"/>
    <dgm:cxn modelId="{A78A574A-555B-4C90-AC9D-E441C26F1D93}" type="presParOf" srcId="{3DCA3E6C-D650-410B-97B5-1A1EE7FDB7A7}" destId="{3F41E68B-FF00-4797-8C81-2FC470DDEEAB}" srcOrd="2" destOrd="0" presId="urn:microsoft.com/office/officeart/2008/layout/LinedList"/>
    <dgm:cxn modelId="{BE5B4EB7-D44A-4B4D-BB95-F6C451C89268}" type="presParOf" srcId="{469DF00B-F79B-42D0-AC2A-FA42C1A9507C}" destId="{AABD15F3-D132-4FB4-AFDE-99D83C156B52}" srcOrd="8" destOrd="0" presId="urn:microsoft.com/office/officeart/2008/layout/LinedList"/>
    <dgm:cxn modelId="{2A3E0CAF-397F-4341-A84A-F3F55D850B91}" type="presParOf" srcId="{469DF00B-F79B-42D0-AC2A-FA42C1A9507C}" destId="{4A757614-5267-402D-95E6-69DC8A52FA4F}" srcOrd="9" destOrd="0" presId="urn:microsoft.com/office/officeart/2008/layout/LinedList"/>
    <dgm:cxn modelId="{105CB468-71A9-4F12-BC47-DCCC5358FCFD}" type="presParOf" srcId="{469DF00B-F79B-42D0-AC2A-FA42C1A9507C}" destId="{7B0B556D-B27D-4886-A5B9-9D07DEBFA3A1}" srcOrd="10" destOrd="0" presId="urn:microsoft.com/office/officeart/2008/layout/LinedList"/>
    <dgm:cxn modelId="{157E0BC3-3FC5-4B79-8C44-D6A0B4CF693C}" type="presParOf" srcId="{7B0B556D-B27D-4886-A5B9-9D07DEBFA3A1}" destId="{C22C9F62-F677-4737-804C-4F5A3A0528D9}" srcOrd="0" destOrd="0" presId="urn:microsoft.com/office/officeart/2008/layout/LinedList"/>
    <dgm:cxn modelId="{C2D42799-44EB-4575-8D7D-28E1E62FDD4A}" type="presParOf" srcId="{7B0B556D-B27D-4886-A5B9-9D07DEBFA3A1}" destId="{CEFC418A-23D7-4D55-A0FE-F1A0703D62CF}" srcOrd="1" destOrd="0" presId="urn:microsoft.com/office/officeart/2008/layout/LinedList"/>
    <dgm:cxn modelId="{52802947-01A8-4FD1-8CA2-AE5CD99585A7}" type="presParOf" srcId="{7B0B556D-B27D-4886-A5B9-9D07DEBFA3A1}" destId="{A6767CC8-6F14-4033-A74F-71C566DF377D}" srcOrd="2" destOrd="0" presId="urn:microsoft.com/office/officeart/2008/layout/LinedList"/>
    <dgm:cxn modelId="{8BBA4881-AA63-4D72-BE09-2E62EEFCECF0}" type="presParOf" srcId="{469DF00B-F79B-42D0-AC2A-FA42C1A9507C}" destId="{92CE6935-93BE-4AE4-A6FA-BCF135B33571}" srcOrd="11" destOrd="0" presId="urn:microsoft.com/office/officeart/2008/layout/LinedList"/>
    <dgm:cxn modelId="{E94B156E-7FB2-4ADD-AAC7-C1D51766F183}" type="presParOf" srcId="{469DF00B-F79B-42D0-AC2A-FA42C1A9507C}" destId="{5F312D2E-5BE7-4AA1-B64D-0FEC4A9F7A9A}" srcOrd="12" destOrd="0" presId="urn:microsoft.com/office/officeart/2008/layout/LinedList"/>
    <dgm:cxn modelId="{FF604D36-095E-4D14-8FE3-C8D79D15CC05}" type="presParOf" srcId="{469DF00B-F79B-42D0-AC2A-FA42C1A9507C}" destId="{6D57A972-0113-4B42-BD28-8FF1D684970C}" srcOrd="13" destOrd="0" presId="urn:microsoft.com/office/officeart/2008/layout/LinedList"/>
    <dgm:cxn modelId="{FAF1E447-8B22-4FB3-955F-A5F72F698E68}" type="presParOf" srcId="{6D57A972-0113-4B42-BD28-8FF1D684970C}" destId="{B66468C1-22F8-41A2-9E40-3129BF72DABB}" srcOrd="0" destOrd="0" presId="urn:microsoft.com/office/officeart/2008/layout/LinedList"/>
    <dgm:cxn modelId="{F8CCD916-48CD-47BA-AF10-4F04B4A473A9}" type="presParOf" srcId="{6D57A972-0113-4B42-BD28-8FF1D684970C}" destId="{44D419E0-7A45-4EDE-9CAF-33192D17489F}" srcOrd="1" destOrd="0" presId="urn:microsoft.com/office/officeart/2008/layout/LinedList"/>
    <dgm:cxn modelId="{22DC3DB3-1115-49B3-B776-5A39AE61D5C2}" type="presParOf" srcId="{6D57A972-0113-4B42-BD28-8FF1D684970C}" destId="{5FFAC50E-74EA-4787-9D7B-98BA8F906B61}" srcOrd="2" destOrd="0" presId="urn:microsoft.com/office/officeart/2008/layout/LinedList"/>
    <dgm:cxn modelId="{BDACDD5F-1CDC-4A2A-B5BF-09032F760561}" type="presParOf" srcId="{469DF00B-F79B-42D0-AC2A-FA42C1A9507C}" destId="{B37EE827-1F0A-4D90-AC5C-14715A36C966}" srcOrd="14" destOrd="0" presId="urn:microsoft.com/office/officeart/2008/layout/LinedList"/>
    <dgm:cxn modelId="{2E24100F-9D24-4772-921C-3390D4F8474D}" type="presParOf" srcId="{469DF00B-F79B-42D0-AC2A-FA42C1A9507C}" destId="{47AEE65D-E2A8-4AD8-B5CD-BBDC4833A950}" srcOrd="15" destOrd="0" presId="urn:microsoft.com/office/officeart/2008/layout/LinedList"/>
    <dgm:cxn modelId="{FB711881-CE0C-4F34-8F51-2D43A15DD108}" type="presParOf" srcId="{469DF00B-F79B-42D0-AC2A-FA42C1A9507C}" destId="{7EC6FF1C-25A4-4DB7-AF3D-096CBEC8AE20}" srcOrd="16" destOrd="0" presId="urn:microsoft.com/office/officeart/2008/layout/LinedList"/>
    <dgm:cxn modelId="{A8E2C7ED-7FE9-4473-AFAB-BDF39A716F80}" type="presParOf" srcId="{7EC6FF1C-25A4-4DB7-AF3D-096CBEC8AE20}" destId="{C3AB76ED-C19B-415B-905F-A87D1F8870ED}" srcOrd="0" destOrd="0" presId="urn:microsoft.com/office/officeart/2008/layout/LinedList"/>
    <dgm:cxn modelId="{46B6771D-BC2D-464C-999F-3ECDABD1C120}" type="presParOf" srcId="{7EC6FF1C-25A4-4DB7-AF3D-096CBEC8AE20}" destId="{6BBB7369-F88E-416A-8EE4-F27EE06C5620}" srcOrd="1" destOrd="0" presId="urn:microsoft.com/office/officeart/2008/layout/LinedList"/>
    <dgm:cxn modelId="{77B0290F-8370-453F-9A04-E94AD0D10544}" type="presParOf" srcId="{7EC6FF1C-25A4-4DB7-AF3D-096CBEC8AE20}" destId="{85C9F046-04A3-49B9-9EDA-2BB8706F9E92}" srcOrd="2" destOrd="0" presId="urn:microsoft.com/office/officeart/2008/layout/LinedList"/>
    <dgm:cxn modelId="{8AE79CDC-3AAB-46A0-8785-D2514DF232C5}" type="presParOf" srcId="{469DF00B-F79B-42D0-AC2A-FA42C1A9507C}" destId="{BE967B57-0147-4930-8A8F-88958A2ECA63}" srcOrd="17" destOrd="0" presId="urn:microsoft.com/office/officeart/2008/layout/LinedList"/>
    <dgm:cxn modelId="{A724A57E-ED31-4F93-BCC2-FAB64A6A0145}" type="presParOf" srcId="{469DF00B-F79B-42D0-AC2A-FA42C1A9507C}" destId="{E11881C5-B4B7-442D-85B8-C156A94E0595}" srcOrd="18"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F641148-E147-48CB-945D-210E7E0681A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D1BC9F98-D5C1-43B9-812A-05F8F95D2499}">
      <dgm:prSet custT="1"/>
      <dgm:spPr/>
      <dgm:t>
        <a:bodyPr/>
        <a:lstStyle/>
        <a:p>
          <a:r>
            <a:rPr lang="en-US" sz="2600" b="1" dirty="0"/>
            <a:t>Visual or written conduct can also be sexual harassment, such as unwanted:</a:t>
          </a:r>
        </a:p>
      </dgm:t>
    </dgm:pt>
    <dgm:pt modelId="{75A760E4-4AF2-4C0D-BFE8-9797980E085A}" type="parTrans" cxnId="{6E9B4013-0392-4AC3-B249-09CC4DDDA41F}">
      <dgm:prSet/>
      <dgm:spPr/>
      <dgm:t>
        <a:bodyPr/>
        <a:lstStyle/>
        <a:p>
          <a:endParaRPr lang="en-US"/>
        </a:p>
      </dgm:t>
    </dgm:pt>
    <dgm:pt modelId="{0FAF44A8-D2AA-4112-9F3E-3D16EA04DDD4}" type="sibTrans" cxnId="{6E9B4013-0392-4AC3-B249-09CC4DDDA41F}">
      <dgm:prSet/>
      <dgm:spPr/>
      <dgm:t>
        <a:bodyPr/>
        <a:lstStyle/>
        <a:p>
          <a:endParaRPr lang="en-US"/>
        </a:p>
      </dgm:t>
    </dgm:pt>
    <dgm:pt modelId="{563B53AE-1942-41BE-88F1-9D5C487FC7E1}">
      <dgm:prSet/>
      <dgm:spPr/>
      <dgm:t>
        <a:bodyPr/>
        <a:lstStyle/>
        <a:p>
          <a:r>
            <a:rPr lang="en-US"/>
            <a:t>Leering</a:t>
          </a:r>
        </a:p>
      </dgm:t>
    </dgm:pt>
    <dgm:pt modelId="{5EBAD595-869B-4F48-86D6-55DCE019FA5A}" type="parTrans" cxnId="{878370AC-78B2-4C5D-BCF0-E765ACFECD33}">
      <dgm:prSet/>
      <dgm:spPr/>
      <dgm:t>
        <a:bodyPr/>
        <a:lstStyle/>
        <a:p>
          <a:endParaRPr lang="en-US"/>
        </a:p>
      </dgm:t>
    </dgm:pt>
    <dgm:pt modelId="{EF64CE40-2FDB-4484-AB53-5AFDE1BAA5F8}" type="sibTrans" cxnId="{878370AC-78B2-4C5D-BCF0-E765ACFECD33}">
      <dgm:prSet/>
      <dgm:spPr/>
      <dgm:t>
        <a:bodyPr/>
        <a:lstStyle/>
        <a:p>
          <a:endParaRPr lang="en-US"/>
        </a:p>
      </dgm:t>
    </dgm:pt>
    <dgm:pt modelId="{9E5CC484-A2EA-4CDB-AEED-C4E45918337F}">
      <dgm:prSet/>
      <dgm:spPr/>
      <dgm:t>
        <a:bodyPr/>
        <a:lstStyle/>
        <a:p>
          <a:r>
            <a:rPr lang="en-US"/>
            <a:t>Staring</a:t>
          </a:r>
        </a:p>
      </dgm:t>
    </dgm:pt>
    <dgm:pt modelId="{B1F3FC5D-F42C-46A3-8CFF-9BAD39F7EFA4}" type="parTrans" cxnId="{96B19730-8D12-486D-9C16-E6437AE54429}">
      <dgm:prSet/>
      <dgm:spPr/>
      <dgm:t>
        <a:bodyPr/>
        <a:lstStyle/>
        <a:p>
          <a:endParaRPr lang="en-US"/>
        </a:p>
      </dgm:t>
    </dgm:pt>
    <dgm:pt modelId="{0E7C8D25-BDFB-483C-A7F5-9994E7212A0E}" type="sibTrans" cxnId="{96B19730-8D12-486D-9C16-E6437AE54429}">
      <dgm:prSet/>
      <dgm:spPr/>
      <dgm:t>
        <a:bodyPr/>
        <a:lstStyle/>
        <a:p>
          <a:endParaRPr lang="en-US"/>
        </a:p>
      </dgm:t>
    </dgm:pt>
    <dgm:pt modelId="{903DE7D6-D89F-492B-B480-A07699A029B8}">
      <dgm:prSet/>
      <dgm:spPr/>
      <dgm:t>
        <a:bodyPr/>
        <a:lstStyle/>
        <a:p>
          <a:r>
            <a:rPr lang="en-US"/>
            <a:t>Sexual gesturing</a:t>
          </a:r>
        </a:p>
      </dgm:t>
    </dgm:pt>
    <dgm:pt modelId="{102B57AB-FF81-4059-B8EA-CA7900F0BF1C}" type="parTrans" cxnId="{FA12034F-7098-4167-A78D-2C51E3113EAD}">
      <dgm:prSet/>
      <dgm:spPr/>
      <dgm:t>
        <a:bodyPr/>
        <a:lstStyle/>
        <a:p>
          <a:endParaRPr lang="en-US"/>
        </a:p>
      </dgm:t>
    </dgm:pt>
    <dgm:pt modelId="{60BD995F-BDED-490D-AC41-0FA891B9C3B1}" type="sibTrans" cxnId="{FA12034F-7098-4167-A78D-2C51E3113EAD}">
      <dgm:prSet/>
      <dgm:spPr/>
      <dgm:t>
        <a:bodyPr/>
        <a:lstStyle/>
        <a:p>
          <a:endParaRPr lang="en-US"/>
        </a:p>
      </dgm:t>
    </dgm:pt>
    <dgm:pt modelId="{B8F1333B-ABAB-4EA6-8420-8D4B33C8F7A7}">
      <dgm:prSet/>
      <dgm:spPr/>
      <dgm:t>
        <a:bodyPr/>
        <a:lstStyle/>
        <a:p>
          <a:r>
            <a:rPr lang="en-US"/>
            <a:t>Displaying sexually suggestive or explicit objects, pictures, or videos</a:t>
          </a:r>
        </a:p>
      </dgm:t>
    </dgm:pt>
    <dgm:pt modelId="{015080EE-0A24-4623-AD3A-7D48494EDC76}" type="parTrans" cxnId="{3AFBF653-DE44-4229-BA81-57FF8FD622EF}">
      <dgm:prSet/>
      <dgm:spPr/>
      <dgm:t>
        <a:bodyPr/>
        <a:lstStyle/>
        <a:p>
          <a:endParaRPr lang="en-US"/>
        </a:p>
      </dgm:t>
    </dgm:pt>
    <dgm:pt modelId="{4FDA4DAB-C206-4BB3-A612-AFE9C7E3B57E}" type="sibTrans" cxnId="{3AFBF653-DE44-4229-BA81-57FF8FD622EF}">
      <dgm:prSet/>
      <dgm:spPr/>
      <dgm:t>
        <a:bodyPr/>
        <a:lstStyle/>
        <a:p>
          <a:endParaRPr lang="en-US"/>
        </a:p>
      </dgm:t>
    </dgm:pt>
    <dgm:pt modelId="{56BF32FC-2B60-46D2-9573-6CCE3271B11A}">
      <dgm:prSet/>
      <dgm:spPr/>
      <dgm:t>
        <a:bodyPr/>
        <a:lstStyle/>
        <a:p>
          <a:r>
            <a:rPr lang="en-US"/>
            <a:t>Sending sexually suggestive or explicit emails, text messages, or other electronic communications</a:t>
          </a:r>
        </a:p>
      </dgm:t>
    </dgm:pt>
    <dgm:pt modelId="{30F26F28-F252-481C-8D58-A4EDAB4BDAD8}" type="parTrans" cxnId="{E1156306-C2E3-4B80-8A46-DA2ED33FF3B6}">
      <dgm:prSet/>
      <dgm:spPr/>
      <dgm:t>
        <a:bodyPr/>
        <a:lstStyle/>
        <a:p>
          <a:endParaRPr lang="en-US"/>
        </a:p>
      </dgm:t>
    </dgm:pt>
    <dgm:pt modelId="{D70E2025-5D97-4E9B-8863-B43F3BE3BAE2}" type="sibTrans" cxnId="{E1156306-C2E3-4B80-8A46-DA2ED33FF3B6}">
      <dgm:prSet/>
      <dgm:spPr/>
      <dgm:t>
        <a:bodyPr/>
        <a:lstStyle/>
        <a:p>
          <a:endParaRPr lang="en-US"/>
        </a:p>
      </dgm:t>
    </dgm:pt>
    <dgm:pt modelId="{4DCD3275-0472-4BDD-97F0-AF6ADC447D45}" type="pres">
      <dgm:prSet presAssocID="{BF641148-E147-48CB-945D-210E7E0681A9}" presName="vert0" presStyleCnt="0">
        <dgm:presLayoutVars>
          <dgm:dir/>
          <dgm:animOne val="branch"/>
          <dgm:animLvl val="lvl"/>
        </dgm:presLayoutVars>
      </dgm:prSet>
      <dgm:spPr/>
    </dgm:pt>
    <dgm:pt modelId="{C9601054-612F-4984-8750-736A5911B21E}" type="pres">
      <dgm:prSet presAssocID="{D1BC9F98-D5C1-43B9-812A-05F8F95D2499}" presName="thickLine" presStyleLbl="alignNode1" presStyleIdx="0" presStyleCnt="1"/>
      <dgm:spPr/>
    </dgm:pt>
    <dgm:pt modelId="{8290D27F-46B7-4607-B2F5-4AE926AADE5E}" type="pres">
      <dgm:prSet presAssocID="{D1BC9F98-D5C1-43B9-812A-05F8F95D2499}" presName="horz1" presStyleCnt="0"/>
      <dgm:spPr/>
    </dgm:pt>
    <dgm:pt modelId="{BEDF4B48-2D4C-443E-BD22-BF5BFB509D5F}" type="pres">
      <dgm:prSet presAssocID="{D1BC9F98-D5C1-43B9-812A-05F8F95D2499}" presName="tx1" presStyleLbl="revTx" presStyleIdx="0" presStyleCnt="6" custScaleX="144867"/>
      <dgm:spPr/>
    </dgm:pt>
    <dgm:pt modelId="{8B21D238-8B70-464D-8CF5-B33D7E3CA848}" type="pres">
      <dgm:prSet presAssocID="{D1BC9F98-D5C1-43B9-812A-05F8F95D2499}" presName="vert1" presStyleCnt="0"/>
      <dgm:spPr/>
    </dgm:pt>
    <dgm:pt modelId="{B53C423E-F93D-4463-BD96-1942A42B7DC6}" type="pres">
      <dgm:prSet presAssocID="{563B53AE-1942-41BE-88F1-9D5C487FC7E1}" presName="vertSpace2a" presStyleCnt="0"/>
      <dgm:spPr/>
    </dgm:pt>
    <dgm:pt modelId="{A52A207D-4723-47DF-8FA2-8496F0BDBA27}" type="pres">
      <dgm:prSet presAssocID="{563B53AE-1942-41BE-88F1-9D5C487FC7E1}" presName="horz2" presStyleCnt="0"/>
      <dgm:spPr/>
    </dgm:pt>
    <dgm:pt modelId="{A57E2289-E392-4D2E-A678-625517181021}" type="pres">
      <dgm:prSet presAssocID="{563B53AE-1942-41BE-88F1-9D5C487FC7E1}" presName="horzSpace2" presStyleCnt="0"/>
      <dgm:spPr/>
    </dgm:pt>
    <dgm:pt modelId="{AF89559D-5885-4018-87A7-1D664F7DA9DB}" type="pres">
      <dgm:prSet presAssocID="{563B53AE-1942-41BE-88F1-9D5C487FC7E1}" presName="tx2" presStyleLbl="revTx" presStyleIdx="1" presStyleCnt="6"/>
      <dgm:spPr/>
    </dgm:pt>
    <dgm:pt modelId="{A467326F-11A2-486D-BB3B-A2D86D3FA41E}" type="pres">
      <dgm:prSet presAssocID="{563B53AE-1942-41BE-88F1-9D5C487FC7E1}" presName="vert2" presStyleCnt="0"/>
      <dgm:spPr/>
    </dgm:pt>
    <dgm:pt modelId="{06193558-81C3-469C-90BD-119AD69E9186}" type="pres">
      <dgm:prSet presAssocID="{563B53AE-1942-41BE-88F1-9D5C487FC7E1}" presName="thinLine2b" presStyleLbl="callout" presStyleIdx="0" presStyleCnt="5"/>
      <dgm:spPr/>
    </dgm:pt>
    <dgm:pt modelId="{C8BDFC79-7100-44CF-9BCA-1E4B41488B66}" type="pres">
      <dgm:prSet presAssocID="{563B53AE-1942-41BE-88F1-9D5C487FC7E1}" presName="vertSpace2b" presStyleCnt="0"/>
      <dgm:spPr/>
    </dgm:pt>
    <dgm:pt modelId="{09C71E00-A5B3-4D97-A761-A4675C3588FC}" type="pres">
      <dgm:prSet presAssocID="{9E5CC484-A2EA-4CDB-AEED-C4E45918337F}" presName="horz2" presStyleCnt="0"/>
      <dgm:spPr/>
    </dgm:pt>
    <dgm:pt modelId="{9D69C00F-D0AB-4CE5-882F-9B81E446157C}" type="pres">
      <dgm:prSet presAssocID="{9E5CC484-A2EA-4CDB-AEED-C4E45918337F}" presName="horzSpace2" presStyleCnt="0"/>
      <dgm:spPr/>
    </dgm:pt>
    <dgm:pt modelId="{521AD668-4B88-4CCD-8A4D-F73EC909D758}" type="pres">
      <dgm:prSet presAssocID="{9E5CC484-A2EA-4CDB-AEED-C4E45918337F}" presName="tx2" presStyleLbl="revTx" presStyleIdx="2" presStyleCnt="6"/>
      <dgm:spPr/>
    </dgm:pt>
    <dgm:pt modelId="{E0B9C79F-79EC-4742-9FE0-43E50496EC45}" type="pres">
      <dgm:prSet presAssocID="{9E5CC484-A2EA-4CDB-AEED-C4E45918337F}" presName="vert2" presStyleCnt="0"/>
      <dgm:spPr/>
    </dgm:pt>
    <dgm:pt modelId="{EA7C57B3-E997-4F4A-8CDC-6DAE52C5629C}" type="pres">
      <dgm:prSet presAssocID="{9E5CC484-A2EA-4CDB-AEED-C4E45918337F}" presName="thinLine2b" presStyleLbl="callout" presStyleIdx="1" presStyleCnt="5"/>
      <dgm:spPr/>
    </dgm:pt>
    <dgm:pt modelId="{C800B5DC-6A90-4B62-A98B-42505E3E7784}" type="pres">
      <dgm:prSet presAssocID="{9E5CC484-A2EA-4CDB-AEED-C4E45918337F}" presName="vertSpace2b" presStyleCnt="0"/>
      <dgm:spPr/>
    </dgm:pt>
    <dgm:pt modelId="{E25252A5-7DE6-4EAE-B74A-79254EAA08EE}" type="pres">
      <dgm:prSet presAssocID="{903DE7D6-D89F-492B-B480-A07699A029B8}" presName="horz2" presStyleCnt="0"/>
      <dgm:spPr/>
    </dgm:pt>
    <dgm:pt modelId="{75882E8A-A954-4795-AD6A-240BB341D22C}" type="pres">
      <dgm:prSet presAssocID="{903DE7D6-D89F-492B-B480-A07699A029B8}" presName="horzSpace2" presStyleCnt="0"/>
      <dgm:spPr/>
    </dgm:pt>
    <dgm:pt modelId="{6CEC15DE-6A48-4D0C-A553-4D577B2A7649}" type="pres">
      <dgm:prSet presAssocID="{903DE7D6-D89F-492B-B480-A07699A029B8}" presName="tx2" presStyleLbl="revTx" presStyleIdx="3" presStyleCnt="6"/>
      <dgm:spPr/>
    </dgm:pt>
    <dgm:pt modelId="{516F7D5B-FB0D-452C-98F6-46C19CB7733C}" type="pres">
      <dgm:prSet presAssocID="{903DE7D6-D89F-492B-B480-A07699A029B8}" presName="vert2" presStyleCnt="0"/>
      <dgm:spPr/>
    </dgm:pt>
    <dgm:pt modelId="{DE3ECEDF-86CF-440C-A859-06473E1C0D61}" type="pres">
      <dgm:prSet presAssocID="{903DE7D6-D89F-492B-B480-A07699A029B8}" presName="thinLine2b" presStyleLbl="callout" presStyleIdx="2" presStyleCnt="5"/>
      <dgm:spPr/>
    </dgm:pt>
    <dgm:pt modelId="{8158DF1C-9B26-4090-8C20-BB6B125FFB86}" type="pres">
      <dgm:prSet presAssocID="{903DE7D6-D89F-492B-B480-A07699A029B8}" presName="vertSpace2b" presStyleCnt="0"/>
      <dgm:spPr/>
    </dgm:pt>
    <dgm:pt modelId="{712997CA-25B7-4F06-AAEE-3D41B60CC4D4}" type="pres">
      <dgm:prSet presAssocID="{B8F1333B-ABAB-4EA6-8420-8D4B33C8F7A7}" presName="horz2" presStyleCnt="0"/>
      <dgm:spPr/>
    </dgm:pt>
    <dgm:pt modelId="{6EE9B696-8910-4016-9865-AF0A969196FB}" type="pres">
      <dgm:prSet presAssocID="{B8F1333B-ABAB-4EA6-8420-8D4B33C8F7A7}" presName="horzSpace2" presStyleCnt="0"/>
      <dgm:spPr/>
    </dgm:pt>
    <dgm:pt modelId="{BF10462E-B44D-41D7-BF53-18DA847979E9}" type="pres">
      <dgm:prSet presAssocID="{B8F1333B-ABAB-4EA6-8420-8D4B33C8F7A7}" presName="tx2" presStyleLbl="revTx" presStyleIdx="4" presStyleCnt="6"/>
      <dgm:spPr/>
    </dgm:pt>
    <dgm:pt modelId="{24D1AF7A-E237-4A21-9A7C-B6F560DB7E6D}" type="pres">
      <dgm:prSet presAssocID="{B8F1333B-ABAB-4EA6-8420-8D4B33C8F7A7}" presName="vert2" presStyleCnt="0"/>
      <dgm:spPr/>
    </dgm:pt>
    <dgm:pt modelId="{E7801F89-3978-4FCB-A1FA-55AFFA252E54}" type="pres">
      <dgm:prSet presAssocID="{B8F1333B-ABAB-4EA6-8420-8D4B33C8F7A7}" presName="thinLine2b" presStyleLbl="callout" presStyleIdx="3" presStyleCnt="5"/>
      <dgm:spPr/>
    </dgm:pt>
    <dgm:pt modelId="{A1608358-EF55-49C1-9FC7-EA0A3B39353E}" type="pres">
      <dgm:prSet presAssocID="{B8F1333B-ABAB-4EA6-8420-8D4B33C8F7A7}" presName="vertSpace2b" presStyleCnt="0"/>
      <dgm:spPr/>
    </dgm:pt>
    <dgm:pt modelId="{6B6F4614-3A69-4F90-B4B2-EB9373B0AB76}" type="pres">
      <dgm:prSet presAssocID="{56BF32FC-2B60-46D2-9573-6CCE3271B11A}" presName="horz2" presStyleCnt="0"/>
      <dgm:spPr/>
    </dgm:pt>
    <dgm:pt modelId="{DAC37BFB-F01A-4E06-AD84-4D9BFF318443}" type="pres">
      <dgm:prSet presAssocID="{56BF32FC-2B60-46D2-9573-6CCE3271B11A}" presName="horzSpace2" presStyleCnt="0"/>
      <dgm:spPr/>
    </dgm:pt>
    <dgm:pt modelId="{6DCF9578-0452-4650-965C-EAF3582D6CA3}" type="pres">
      <dgm:prSet presAssocID="{56BF32FC-2B60-46D2-9573-6CCE3271B11A}" presName="tx2" presStyleLbl="revTx" presStyleIdx="5" presStyleCnt="6"/>
      <dgm:spPr/>
    </dgm:pt>
    <dgm:pt modelId="{F2626129-BBBC-4C92-A80A-2B0E95AC665F}" type="pres">
      <dgm:prSet presAssocID="{56BF32FC-2B60-46D2-9573-6CCE3271B11A}" presName="vert2" presStyleCnt="0"/>
      <dgm:spPr/>
    </dgm:pt>
    <dgm:pt modelId="{26FC7588-F887-4E82-8A66-926A82CF2EFE}" type="pres">
      <dgm:prSet presAssocID="{56BF32FC-2B60-46D2-9573-6CCE3271B11A}" presName="thinLine2b" presStyleLbl="callout" presStyleIdx="4" presStyleCnt="5"/>
      <dgm:spPr/>
    </dgm:pt>
    <dgm:pt modelId="{42769444-8706-4735-A060-33E845B12C2D}" type="pres">
      <dgm:prSet presAssocID="{56BF32FC-2B60-46D2-9573-6CCE3271B11A}" presName="vertSpace2b" presStyleCnt="0"/>
      <dgm:spPr/>
    </dgm:pt>
  </dgm:ptLst>
  <dgm:cxnLst>
    <dgm:cxn modelId="{E1156306-C2E3-4B80-8A46-DA2ED33FF3B6}" srcId="{D1BC9F98-D5C1-43B9-812A-05F8F95D2499}" destId="{56BF32FC-2B60-46D2-9573-6CCE3271B11A}" srcOrd="4" destOrd="0" parTransId="{30F26F28-F252-481C-8D58-A4EDAB4BDAD8}" sibTransId="{D70E2025-5D97-4E9B-8863-B43F3BE3BAE2}"/>
    <dgm:cxn modelId="{A197DA0A-1607-4BEB-9FC3-111562E641BD}" type="presOf" srcId="{B8F1333B-ABAB-4EA6-8420-8D4B33C8F7A7}" destId="{BF10462E-B44D-41D7-BF53-18DA847979E9}" srcOrd="0" destOrd="0" presId="urn:microsoft.com/office/officeart/2008/layout/LinedList"/>
    <dgm:cxn modelId="{6E9B4013-0392-4AC3-B249-09CC4DDDA41F}" srcId="{BF641148-E147-48CB-945D-210E7E0681A9}" destId="{D1BC9F98-D5C1-43B9-812A-05F8F95D2499}" srcOrd="0" destOrd="0" parTransId="{75A760E4-4AF2-4C0D-BFE8-9797980E085A}" sibTransId="{0FAF44A8-D2AA-4112-9F3E-3D16EA04DDD4}"/>
    <dgm:cxn modelId="{9284382C-E6E7-4CEC-887B-8FA7A8486E9E}" type="presOf" srcId="{D1BC9F98-D5C1-43B9-812A-05F8F95D2499}" destId="{BEDF4B48-2D4C-443E-BD22-BF5BFB509D5F}" srcOrd="0" destOrd="0" presId="urn:microsoft.com/office/officeart/2008/layout/LinedList"/>
    <dgm:cxn modelId="{96B19730-8D12-486D-9C16-E6437AE54429}" srcId="{D1BC9F98-D5C1-43B9-812A-05F8F95D2499}" destId="{9E5CC484-A2EA-4CDB-AEED-C4E45918337F}" srcOrd="1" destOrd="0" parTransId="{B1F3FC5D-F42C-46A3-8CFF-9BAD39F7EFA4}" sibTransId="{0E7C8D25-BDFB-483C-A7F5-9994E7212A0E}"/>
    <dgm:cxn modelId="{4418D16D-54AA-49B9-9993-311666C027FF}" type="presOf" srcId="{56BF32FC-2B60-46D2-9573-6CCE3271B11A}" destId="{6DCF9578-0452-4650-965C-EAF3582D6CA3}" srcOrd="0" destOrd="0" presId="urn:microsoft.com/office/officeart/2008/layout/LinedList"/>
    <dgm:cxn modelId="{FA12034F-7098-4167-A78D-2C51E3113EAD}" srcId="{D1BC9F98-D5C1-43B9-812A-05F8F95D2499}" destId="{903DE7D6-D89F-492B-B480-A07699A029B8}" srcOrd="2" destOrd="0" parTransId="{102B57AB-FF81-4059-B8EA-CA7900F0BF1C}" sibTransId="{60BD995F-BDED-490D-AC41-0FA891B9C3B1}"/>
    <dgm:cxn modelId="{3AFBF653-DE44-4229-BA81-57FF8FD622EF}" srcId="{D1BC9F98-D5C1-43B9-812A-05F8F95D2499}" destId="{B8F1333B-ABAB-4EA6-8420-8D4B33C8F7A7}" srcOrd="3" destOrd="0" parTransId="{015080EE-0A24-4623-AD3A-7D48494EDC76}" sibTransId="{4FDA4DAB-C206-4BB3-A612-AFE9C7E3B57E}"/>
    <dgm:cxn modelId="{FF7E8574-D657-4284-B15C-54B78F7D681F}" type="presOf" srcId="{903DE7D6-D89F-492B-B480-A07699A029B8}" destId="{6CEC15DE-6A48-4D0C-A553-4D577B2A7649}" srcOrd="0" destOrd="0" presId="urn:microsoft.com/office/officeart/2008/layout/LinedList"/>
    <dgm:cxn modelId="{24F243AB-826F-47E1-9B26-9D8241BAF592}" type="presOf" srcId="{BF641148-E147-48CB-945D-210E7E0681A9}" destId="{4DCD3275-0472-4BDD-97F0-AF6ADC447D45}" srcOrd="0" destOrd="0" presId="urn:microsoft.com/office/officeart/2008/layout/LinedList"/>
    <dgm:cxn modelId="{878370AC-78B2-4C5D-BCF0-E765ACFECD33}" srcId="{D1BC9F98-D5C1-43B9-812A-05F8F95D2499}" destId="{563B53AE-1942-41BE-88F1-9D5C487FC7E1}" srcOrd="0" destOrd="0" parTransId="{5EBAD595-869B-4F48-86D6-55DCE019FA5A}" sibTransId="{EF64CE40-2FDB-4484-AB53-5AFDE1BAA5F8}"/>
    <dgm:cxn modelId="{CA9021C7-21BF-4101-89C6-466E7CAF1C60}" type="presOf" srcId="{563B53AE-1942-41BE-88F1-9D5C487FC7E1}" destId="{AF89559D-5885-4018-87A7-1D664F7DA9DB}" srcOrd="0" destOrd="0" presId="urn:microsoft.com/office/officeart/2008/layout/LinedList"/>
    <dgm:cxn modelId="{957FF0FC-5A10-49D3-BBFD-8975DA8C0DB9}" type="presOf" srcId="{9E5CC484-A2EA-4CDB-AEED-C4E45918337F}" destId="{521AD668-4B88-4CCD-8A4D-F73EC909D758}" srcOrd="0" destOrd="0" presId="urn:microsoft.com/office/officeart/2008/layout/LinedList"/>
    <dgm:cxn modelId="{D87536D4-D78C-4F6C-B582-62A8AA77AA14}" type="presParOf" srcId="{4DCD3275-0472-4BDD-97F0-AF6ADC447D45}" destId="{C9601054-612F-4984-8750-736A5911B21E}" srcOrd="0" destOrd="0" presId="urn:microsoft.com/office/officeart/2008/layout/LinedList"/>
    <dgm:cxn modelId="{E300AF18-4868-4C78-9CFB-1115610C6FD7}" type="presParOf" srcId="{4DCD3275-0472-4BDD-97F0-AF6ADC447D45}" destId="{8290D27F-46B7-4607-B2F5-4AE926AADE5E}" srcOrd="1" destOrd="0" presId="urn:microsoft.com/office/officeart/2008/layout/LinedList"/>
    <dgm:cxn modelId="{93194154-53AA-41BD-B3BF-FE613AF3B269}" type="presParOf" srcId="{8290D27F-46B7-4607-B2F5-4AE926AADE5E}" destId="{BEDF4B48-2D4C-443E-BD22-BF5BFB509D5F}" srcOrd="0" destOrd="0" presId="urn:microsoft.com/office/officeart/2008/layout/LinedList"/>
    <dgm:cxn modelId="{49140DE5-1D29-4ED4-96EF-950C36876750}" type="presParOf" srcId="{8290D27F-46B7-4607-B2F5-4AE926AADE5E}" destId="{8B21D238-8B70-464D-8CF5-B33D7E3CA848}" srcOrd="1" destOrd="0" presId="urn:microsoft.com/office/officeart/2008/layout/LinedList"/>
    <dgm:cxn modelId="{E5E4D600-B655-4A5C-8877-956A3CBF40F5}" type="presParOf" srcId="{8B21D238-8B70-464D-8CF5-B33D7E3CA848}" destId="{B53C423E-F93D-4463-BD96-1942A42B7DC6}" srcOrd="0" destOrd="0" presId="urn:microsoft.com/office/officeart/2008/layout/LinedList"/>
    <dgm:cxn modelId="{044387BD-73D4-4734-8701-35676D7A6BFF}" type="presParOf" srcId="{8B21D238-8B70-464D-8CF5-B33D7E3CA848}" destId="{A52A207D-4723-47DF-8FA2-8496F0BDBA27}" srcOrd="1" destOrd="0" presId="urn:microsoft.com/office/officeart/2008/layout/LinedList"/>
    <dgm:cxn modelId="{D67BEBC6-3958-427B-8D3B-C48DD84ECFEB}" type="presParOf" srcId="{A52A207D-4723-47DF-8FA2-8496F0BDBA27}" destId="{A57E2289-E392-4D2E-A678-625517181021}" srcOrd="0" destOrd="0" presId="urn:microsoft.com/office/officeart/2008/layout/LinedList"/>
    <dgm:cxn modelId="{E50B5592-67A9-48AE-BCF0-F1BC8D4024A8}" type="presParOf" srcId="{A52A207D-4723-47DF-8FA2-8496F0BDBA27}" destId="{AF89559D-5885-4018-87A7-1D664F7DA9DB}" srcOrd="1" destOrd="0" presId="urn:microsoft.com/office/officeart/2008/layout/LinedList"/>
    <dgm:cxn modelId="{887E9B6E-3E60-426A-A26F-711304124F4B}" type="presParOf" srcId="{A52A207D-4723-47DF-8FA2-8496F0BDBA27}" destId="{A467326F-11A2-486D-BB3B-A2D86D3FA41E}" srcOrd="2" destOrd="0" presId="urn:microsoft.com/office/officeart/2008/layout/LinedList"/>
    <dgm:cxn modelId="{A37CA324-EE24-4CA1-8B42-1D57A048BF89}" type="presParOf" srcId="{8B21D238-8B70-464D-8CF5-B33D7E3CA848}" destId="{06193558-81C3-469C-90BD-119AD69E9186}" srcOrd="2" destOrd="0" presId="urn:microsoft.com/office/officeart/2008/layout/LinedList"/>
    <dgm:cxn modelId="{F2F1210C-E00B-4E84-9675-2D24913554DC}" type="presParOf" srcId="{8B21D238-8B70-464D-8CF5-B33D7E3CA848}" destId="{C8BDFC79-7100-44CF-9BCA-1E4B41488B66}" srcOrd="3" destOrd="0" presId="urn:microsoft.com/office/officeart/2008/layout/LinedList"/>
    <dgm:cxn modelId="{A92F0EEC-63C1-40F4-B575-0D935C2094ED}" type="presParOf" srcId="{8B21D238-8B70-464D-8CF5-B33D7E3CA848}" destId="{09C71E00-A5B3-4D97-A761-A4675C3588FC}" srcOrd="4" destOrd="0" presId="urn:microsoft.com/office/officeart/2008/layout/LinedList"/>
    <dgm:cxn modelId="{653840B0-57BC-41C2-9623-FA487CCD7F2D}" type="presParOf" srcId="{09C71E00-A5B3-4D97-A761-A4675C3588FC}" destId="{9D69C00F-D0AB-4CE5-882F-9B81E446157C}" srcOrd="0" destOrd="0" presId="urn:microsoft.com/office/officeart/2008/layout/LinedList"/>
    <dgm:cxn modelId="{8E978EC2-F2FD-4CAB-A96D-180A3920CD1F}" type="presParOf" srcId="{09C71E00-A5B3-4D97-A761-A4675C3588FC}" destId="{521AD668-4B88-4CCD-8A4D-F73EC909D758}" srcOrd="1" destOrd="0" presId="urn:microsoft.com/office/officeart/2008/layout/LinedList"/>
    <dgm:cxn modelId="{1820B6EA-C422-4C1C-9D98-D9563341C00E}" type="presParOf" srcId="{09C71E00-A5B3-4D97-A761-A4675C3588FC}" destId="{E0B9C79F-79EC-4742-9FE0-43E50496EC45}" srcOrd="2" destOrd="0" presId="urn:microsoft.com/office/officeart/2008/layout/LinedList"/>
    <dgm:cxn modelId="{D7FAB80D-3FC6-4B92-9BC1-263304D10E42}" type="presParOf" srcId="{8B21D238-8B70-464D-8CF5-B33D7E3CA848}" destId="{EA7C57B3-E997-4F4A-8CDC-6DAE52C5629C}" srcOrd="5" destOrd="0" presId="urn:microsoft.com/office/officeart/2008/layout/LinedList"/>
    <dgm:cxn modelId="{DB620C0B-EBCE-4CCC-A791-10504B8CEAF4}" type="presParOf" srcId="{8B21D238-8B70-464D-8CF5-B33D7E3CA848}" destId="{C800B5DC-6A90-4B62-A98B-42505E3E7784}" srcOrd="6" destOrd="0" presId="urn:microsoft.com/office/officeart/2008/layout/LinedList"/>
    <dgm:cxn modelId="{57509005-A7BA-41AE-9385-31A0FD72A414}" type="presParOf" srcId="{8B21D238-8B70-464D-8CF5-B33D7E3CA848}" destId="{E25252A5-7DE6-4EAE-B74A-79254EAA08EE}" srcOrd="7" destOrd="0" presId="urn:microsoft.com/office/officeart/2008/layout/LinedList"/>
    <dgm:cxn modelId="{DA8E2763-679B-4313-8E98-A763DDA47C95}" type="presParOf" srcId="{E25252A5-7DE6-4EAE-B74A-79254EAA08EE}" destId="{75882E8A-A954-4795-AD6A-240BB341D22C}" srcOrd="0" destOrd="0" presId="urn:microsoft.com/office/officeart/2008/layout/LinedList"/>
    <dgm:cxn modelId="{6FE21A2A-10EA-4B5A-B635-40F48ADAB705}" type="presParOf" srcId="{E25252A5-7DE6-4EAE-B74A-79254EAA08EE}" destId="{6CEC15DE-6A48-4D0C-A553-4D577B2A7649}" srcOrd="1" destOrd="0" presId="urn:microsoft.com/office/officeart/2008/layout/LinedList"/>
    <dgm:cxn modelId="{E1C49FA3-CB8E-45DB-834B-513ADFB7A45B}" type="presParOf" srcId="{E25252A5-7DE6-4EAE-B74A-79254EAA08EE}" destId="{516F7D5B-FB0D-452C-98F6-46C19CB7733C}" srcOrd="2" destOrd="0" presId="urn:microsoft.com/office/officeart/2008/layout/LinedList"/>
    <dgm:cxn modelId="{F133A5E1-334E-4B1D-976D-3E458D70A1BD}" type="presParOf" srcId="{8B21D238-8B70-464D-8CF5-B33D7E3CA848}" destId="{DE3ECEDF-86CF-440C-A859-06473E1C0D61}" srcOrd="8" destOrd="0" presId="urn:microsoft.com/office/officeart/2008/layout/LinedList"/>
    <dgm:cxn modelId="{40D9A44A-45EA-407C-B2C4-CAC5798F3E35}" type="presParOf" srcId="{8B21D238-8B70-464D-8CF5-B33D7E3CA848}" destId="{8158DF1C-9B26-4090-8C20-BB6B125FFB86}" srcOrd="9" destOrd="0" presId="urn:microsoft.com/office/officeart/2008/layout/LinedList"/>
    <dgm:cxn modelId="{928D2ACC-42B0-43BC-A387-19AED4DAA1B7}" type="presParOf" srcId="{8B21D238-8B70-464D-8CF5-B33D7E3CA848}" destId="{712997CA-25B7-4F06-AAEE-3D41B60CC4D4}" srcOrd="10" destOrd="0" presId="urn:microsoft.com/office/officeart/2008/layout/LinedList"/>
    <dgm:cxn modelId="{DF0E52E4-D915-4E0B-84B2-F7C8BE6D174D}" type="presParOf" srcId="{712997CA-25B7-4F06-AAEE-3D41B60CC4D4}" destId="{6EE9B696-8910-4016-9865-AF0A969196FB}" srcOrd="0" destOrd="0" presId="urn:microsoft.com/office/officeart/2008/layout/LinedList"/>
    <dgm:cxn modelId="{61A5E977-8584-4E28-B106-ACC6A03A3065}" type="presParOf" srcId="{712997CA-25B7-4F06-AAEE-3D41B60CC4D4}" destId="{BF10462E-B44D-41D7-BF53-18DA847979E9}" srcOrd="1" destOrd="0" presId="urn:microsoft.com/office/officeart/2008/layout/LinedList"/>
    <dgm:cxn modelId="{4FFDE50F-026D-469C-BE96-2ECF5F24B5BD}" type="presParOf" srcId="{712997CA-25B7-4F06-AAEE-3D41B60CC4D4}" destId="{24D1AF7A-E237-4A21-9A7C-B6F560DB7E6D}" srcOrd="2" destOrd="0" presId="urn:microsoft.com/office/officeart/2008/layout/LinedList"/>
    <dgm:cxn modelId="{3DEEFF48-4069-4A1C-A68D-F2363C4B1E79}" type="presParOf" srcId="{8B21D238-8B70-464D-8CF5-B33D7E3CA848}" destId="{E7801F89-3978-4FCB-A1FA-55AFFA252E54}" srcOrd="11" destOrd="0" presId="urn:microsoft.com/office/officeart/2008/layout/LinedList"/>
    <dgm:cxn modelId="{1FDA48CF-3996-44E3-9F79-A43C2EAA91E7}" type="presParOf" srcId="{8B21D238-8B70-464D-8CF5-B33D7E3CA848}" destId="{A1608358-EF55-49C1-9FC7-EA0A3B39353E}" srcOrd="12" destOrd="0" presId="urn:microsoft.com/office/officeart/2008/layout/LinedList"/>
    <dgm:cxn modelId="{9A4F4BCB-E151-4182-A840-8D121F404476}" type="presParOf" srcId="{8B21D238-8B70-464D-8CF5-B33D7E3CA848}" destId="{6B6F4614-3A69-4F90-B4B2-EB9373B0AB76}" srcOrd="13" destOrd="0" presId="urn:microsoft.com/office/officeart/2008/layout/LinedList"/>
    <dgm:cxn modelId="{9A660562-5593-450C-B35D-6923EE38C5CD}" type="presParOf" srcId="{6B6F4614-3A69-4F90-B4B2-EB9373B0AB76}" destId="{DAC37BFB-F01A-4E06-AD84-4D9BFF318443}" srcOrd="0" destOrd="0" presId="urn:microsoft.com/office/officeart/2008/layout/LinedList"/>
    <dgm:cxn modelId="{E667FA06-7E58-47BE-961A-B2FDF24A27B9}" type="presParOf" srcId="{6B6F4614-3A69-4F90-B4B2-EB9373B0AB76}" destId="{6DCF9578-0452-4650-965C-EAF3582D6CA3}" srcOrd="1" destOrd="0" presId="urn:microsoft.com/office/officeart/2008/layout/LinedList"/>
    <dgm:cxn modelId="{099219A2-CE03-424A-B1F9-7AD0B98CBCF2}" type="presParOf" srcId="{6B6F4614-3A69-4F90-B4B2-EB9373B0AB76}" destId="{F2626129-BBBC-4C92-A80A-2B0E95AC665F}" srcOrd="2" destOrd="0" presId="urn:microsoft.com/office/officeart/2008/layout/LinedList"/>
    <dgm:cxn modelId="{FDC8E91D-4B9F-447F-A551-CB8F96736AE6}" type="presParOf" srcId="{8B21D238-8B70-464D-8CF5-B33D7E3CA848}" destId="{26FC7588-F887-4E82-8A66-926A82CF2EFE}" srcOrd="14" destOrd="0" presId="urn:microsoft.com/office/officeart/2008/layout/LinedList"/>
    <dgm:cxn modelId="{2B8279AB-6FA0-4777-9CDC-441354EFB932}" type="presParOf" srcId="{8B21D238-8B70-464D-8CF5-B33D7E3CA848}" destId="{42769444-8706-4735-A060-33E845B12C2D}" srcOrd="15"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A47DE-3FB1-4BE2-B611-F90F7A76C552}">
      <dsp:nvSpPr>
        <dsp:cNvPr id="0" name=""/>
        <dsp:cNvSpPr/>
      </dsp:nvSpPr>
      <dsp:spPr>
        <a:xfrm>
          <a:off x="0" y="95593"/>
          <a:ext cx="3886200" cy="9496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Form of discrimination with specific laws </a:t>
          </a:r>
        </a:p>
      </dsp:txBody>
      <dsp:txXfrm>
        <a:off x="46360" y="141953"/>
        <a:ext cx="3793480" cy="856959"/>
      </dsp:txXfrm>
    </dsp:sp>
    <dsp:sp modelId="{A9DADBA9-D020-4537-88ED-5A20F77C4F29}">
      <dsp:nvSpPr>
        <dsp:cNvPr id="0" name=""/>
        <dsp:cNvSpPr/>
      </dsp:nvSpPr>
      <dsp:spPr>
        <a:xfrm>
          <a:off x="0" y="1094232"/>
          <a:ext cx="3886200" cy="9496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Major form of harassment </a:t>
          </a:r>
        </a:p>
      </dsp:txBody>
      <dsp:txXfrm>
        <a:off x="46360" y="1140592"/>
        <a:ext cx="3793480" cy="856959"/>
      </dsp:txXfrm>
    </dsp:sp>
    <dsp:sp modelId="{F2496395-24CB-486E-A272-EF6AB2CEC6F8}">
      <dsp:nvSpPr>
        <dsp:cNvPr id="0" name=""/>
        <dsp:cNvSpPr/>
      </dsp:nvSpPr>
      <dsp:spPr>
        <a:xfrm>
          <a:off x="0" y="2092872"/>
          <a:ext cx="3886200" cy="9496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Significant proportion of discrimination complaints in society </a:t>
          </a:r>
        </a:p>
      </dsp:txBody>
      <dsp:txXfrm>
        <a:off x="46360" y="2139232"/>
        <a:ext cx="3793480" cy="856959"/>
      </dsp:txXfrm>
    </dsp:sp>
    <dsp:sp modelId="{9ECE8E2A-A096-4579-9455-E9FA1881820A}">
      <dsp:nvSpPr>
        <dsp:cNvPr id="0" name=""/>
        <dsp:cNvSpPr/>
      </dsp:nvSpPr>
      <dsp:spPr>
        <a:xfrm>
          <a:off x="0" y="3091511"/>
          <a:ext cx="3886200" cy="9496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State-specific requirements for training </a:t>
          </a:r>
        </a:p>
      </dsp:txBody>
      <dsp:txXfrm>
        <a:off x="46360" y="3137871"/>
        <a:ext cx="3793480" cy="856959"/>
      </dsp:txXfrm>
    </dsp:sp>
    <dsp:sp modelId="{4BBB6E29-C4ED-4367-8758-0965FC1D3302}">
      <dsp:nvSpPr>
        <dsp:cNvPr id="0" name=""/>
        <dsp:cNvSpPr/>
      </dsp:nvSpPr>
      <dsp:spPr>
        <a:xfrm>
          <a:off x="0" y="4090151"/>
          <a:ext cx="3886200" cy="9496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Same rules and skillsets apply to harassment based on other protected categories</a:t>
          </a:r>
        </a:p>
      </dsp:txBody>
      <dsp:txXfrm>
        <a:off x="46360" y="4136511"/>
        <a:ext cx="3793480" cy="85695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93DC20-FFE4-423F-808D-8BD2BEA6192A}">
      <dsp:nvSpPr>
        <dsp:cNvPr id="0" name=""/>
        <dsp:cNvSpPr/>
      </dsp:nvSpPr>
      <dsp:spPr>
        <a:xfrm>
          <a:off x="0" y="0"/>
          <a:ext cx="807483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12FDC3-35BD-412D-8123-319657CBF62B}">
      <dsp:nvSpPr>
        <dsp:cNvPr id="0" name=""/>
        <dsp:cNvSpPr/>
      </dsp:nvSpPr>
      <dsp:spPr>
        <a:xfrm>
          <a:off x="0" y="0"/>
          <a:ext cx="2221416" cy="4842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t>Examples of other conduct that could be sexual harassment</a:t>
          </a:r>
          <a:r>
            <a:rPr lang="en-US" sz="2200" kern="1200" dirty="0"/>
            <a:t>:</a:t>
          </a:r>
        </a:p>
      </dsp:txBody>
      <dsp:txXfrm>
        <a:off x="0" y="0"/>
        <a:ext cx="2221416" cy="4842074"/>
      </dsp:txXfrm>
    </dsp:sp>
    <dsp:sp modelId="{A9E34BAC-35D8-4FEF-98F0-7E06B035F395}">
      <dsp:nvSpPr>
        <dsp:cNvPr id="0" name=""/>
        <dsp:cNvSpPr/>
      </dsp:nvSpPr>
      <dsp:spPr>
        <a:xfrm>
          <a:off x="2331065" y="45630"/>
          <a:ext cx="5738298"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Whistling or cat calls</a:t>
          </a:r>
        </a:p>
      </dsp:txBody>
      <dsp:txXfrm>
        <a:off x="2331065" y="45630"/>
        <a:ext cx="5738298" cy="912617"/>
      </dsp:txXfrm>
    </dsp:sp>
    <dsp:sp modelId="{859E794E-96B5-4952-8AC2-2B4E711746BC}">
      <dsp:nvSpPr>
        <dsp:cNvPr id="0" name=""/>
        <dsp:cNvSpPr/>
      </dsp:nvSpPr>
      <dsp:spPr>
        <a:xfrm>
          <a:off x="2221416" y="958248"/>
          <a:ext cx="584794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186A4D1-0156-4C96-BB4A-79A33B225819}">
      <dsp:nvSpPr>
        <dsp:cNvPr id="0" name=""/>
        <dsp:cNvSpPr/>
      </dsp:nvSpPr>
      <dsp:spPr>
        <a:xfrm>
          <a:off x="2331065" y="1003879"/>
          <a:ext cx="5738298"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exually explicit sounds through speakers</a:t>
          </a:r>
        </a:p>
      </dsp:txBody>
      <dsp:txXfrm>
        <a:off x="2331065" y="1003879"/>
        <a:ext cx="5738298" cy="912617"/>
      </dsp:txXfrm>
    </dsp:sp>
    <dsp:sp modelId="{28250926-47F9-4B6C-B183-C4910A559C03}">
      <dsp:nvSpPr>
        <dsp:cNvPr id="0" name=""/>
        <dsp:cNvSpPr/>
      </dsp:nvSpPr>
      <dsp:spPr>
        <a:xfrm>
          <a:off x="2221416" y="1916496"/>
          <a:ext cx="584794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8B4F2A-2E0F-4DBC-B946-A4B9A313E1F7}">
      <dsp:nvSpPr>
        <dsp:cNvPr id="0" name=""/>
        <dsp:cNvSpPr/>
      </dsp:nvSpPr>
      <dsp:spPr>
        <a:xfrm>
          <a:off x="2331065" y="1962127"/>
          <a:ext cx="5738298"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ex-tinged or gender specific pranks or practical jokes</a:t>
          </a:r>
        </a:p>
      </dsp:txBody>
      <dsp:txXfrm>
        <a:off x="2331065" y="1962127"/>
        <a:ext cx="5738298" cy="912617"/>
      </dsp:txXfrm>
    </dsp:sp>
    <dsp:sp modelId="{477CA06C-8CB6-4D8A-AE11-2226549E6D4D}">
      <dsp:nvSpPr>
        <dsp:cNvPr id="0" name=""/>
        <dsp:cNvSpPr/>
      </dsp:nvSpPr>
      <dsp:spPr>
        <a:xfrm>
          <a:off x="2221416" y="2874745"/>
          <a:ext cx="584794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CBBC7AE-48F6-4C66-B15D-F47ABA905FB6}">
      <dsp:nvSpPr>
        <dsp:cNvPr id="0" name=""/>
        <dsp:cNvSpPr/>
      </dsp:nvSpPr>
      <dsp:spPr>
        <a:xfrm>
          <a:off x="2331065" y="2920375"/>
          <a:ext cx="5738298"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Holding company functions in an inappropriate environment or inviting inappropriate guests or entertainment</a:t>
          </a:r>
        </a:p>
      </dsp:txBody>
      <dsp:txXfrm>
        <a:off x="2331065" y="2920375"/>
        <a:ext cx="5738298" cy="912617"/>
      </dsp:txXfrm>
    </dsp:sp>
    <dsp:sp modelId="{0C5C7B47-C56F-4850-AFBC-054F7E8B0379}">
      <dsp:nvSpPr>
        <dsp:cNvPr id="0" name=""/>
        <dsp:cNvSpPr/>
      </dsp:nvSpPr>
      <dsp:spPr>
        <a:xfrm>
          <a:off x="2221416" y="3832993"/>
          <a:ext cx="584794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ABACC0-9C9C-498F-82D0-1956E422E8B3}">
      <dsp:nvSpPr>
        <dsp:cNvPr id="0" name=""/>
        <dsp:cNvSpPr/>
      </dsp:nvSpPr>
      <dsp:spPr>
        <a:xfrm>
          <a:off x="2331065" y="3878624"/>
          <a:ext cx="5738298"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t>Sexual favoritism</a:t>
          </a:r>
        </a:p>
      </dsp:txBody>
      <dsp:txXfrm>
        <a:off x="2331065" y="3878624"/>
        <a:ext cx="5738298" cy="912617"/>
      </dsp:txXfrm>
    </dsp:sp>
    <dsp:sp modelId="{664FD3C0-8B9D-4043-AE1E-6C6301BA94A6}">
      <dsp:nvSpPr>
        <dsp:cNvPr id="0" name=""/>
        <dsp:cNvSpPr/>
      </dsp:nvSpPr>
      <dsp:spPr>
        <a:xfrm>
          <a:off x="2221416" y="4791241"/>
          <a:ext cx="5847947"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943CA0-FF78-4B7B-A7D5-A7BC404C4E41}">
      <dsp:nvSpPr>
        <dsp:cNvPr id="0" name=""/>
        <dsp:cNvSpPr/>
      </dsp:nvSpPr>
      <dsp:spPr>
        <a:xfrm>
          <a:off x="0" y="348221"/>
          <a:ext cx="3886200" cy="1429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The company’s summer intern, Celeste, is assigned to work on a new project. </a:t>
          </a:r>
        </a:p>
      </dsp:txBody>
      <dsp:txXfrm>
        <a:off x="69794" y="418015"/>
        <a:ext cx="3746612" cy="1290152"/>
      </dsp:txXfrm>
    </dsp:sp>
    <dsp:sp modelId="{76E735FD-0E81-4A45-9447-31C588BDB5BF}">
      <dsp:nvSpPr>
        <dsp:cNvPr id="0" name=""/>
        <dsp:cNvSpPr/>
      </dsp:nvSpPr>
      <dsp:spPr>
        <a:xfrm>
          <a:off x="0" y="1852842"/>
          <a:ext cx="3886200" cy="1429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Greg is managing the project and is Celeste’s official mentor. </a:t>
          </a:r>
        </a:p>
      </dsp:txBody>
      <dsp:txXfrm>
        <a:off x="69794" y="1922636"/>
        <a:ext cx="3746612" cy="1290152"/>
      </dsp:txXfrm>
    </dsp:sp>
    <dsp:sp modelId="{7D27E92C-271D-4610-A210-51C263613BC5}">
      <dsp:nvSpPr>
        <dsp:cNvPr id="0" name=""/>
        <dsp:cNvSpPr/>
      </dsp:nvSpPr>
      <dsp:spPr>
        <a:xfrm>
          <a:off x="0" y="3357462"/>
          <a:ext cx="3886200" cy="1429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a:t>It’s obvious to everyone on the team that Greg has a crush on Celeste. </a:t>
          </a:r>
        </a:p>
      </dsp:txBody>
      <dsp:txXfrm>
        <a:off x="69794" y="3427256"/>
        <a:ext cx="3746612" cy="129015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7B9480-2328-4ECB-B323-FE4977506F32}">
      <dsp:nvSpPr>
        <dsp:cNvPr id="0" name=""/>
        <dsp:cNvSpPr/>
      </dsp:nvSpPr>
      <dsp:spPr>
        <a:xfrm>
          <a:off x="0" y="2009"/>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1AD7B2-D8BA-4F65-943B-444B99F695C2}">
      <dsp:nvSpPr>
        <dsp:cNvPr id="0" name=""/>
        <dsp:cNvSpPr/>
      </dsp:nvSpPr>
      <dsp:spPr>
        <a:xfrm>
          <a:off x="308107" y="231180"/>
          <a:ext cx="560195" cy="5601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44463F0-F635-44FD-80B9-026B447C18FB}">
      <dsp:nvSpPr>
        <dsp:cNvPr id="0" name=""/>
        <dsp:cNvSpPr/>
      </dsp:nvSpPr>
      <dsp:spPr>
        <a:xfrm>
          <a:off x="1176411" y="2009"/>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89000">
            <a:lnSpc>
              <a:spcPct val="90000"/>
            </a:lnSpc>
            <a:spcBef>
              <a:spcPct val="0"/>
            </a:spcBef>
            <a:spcAft>
              <a:spcPct val="35000"/>
            </a:spcAft>
            <a:buNone/>
          </a:pPr>
          <a:r>
            <a:rPr lang="en-US" sz="2000" kern="1200"/>
            <a:t>A supervisor’s act is legally considered to be the act of the employer.</a:t>
          </a:r>
        </a:p>
      </dsp:txBody>
      <dsp:txXfrm>
        <a:off x="1176411" y="2009"/>
        <a:ext cx="6898424" cy="1018537"/>
      </dsp:txXfrm>
    </dsp:sp>
    <dsp:sp modelId="{12FE1F19-E7F4-42B2-A0A1-AB10B28732A5}">
      <dsp:nvSpPr>
        <dsp:cNvPr id="0" name=""/>
        <dsp:cNvSpPr/>
      </dsp:nvSpPr>
      <dsp:spPr>
        <a:xfrm>
          <a:off x="0" y="1275181"/>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33C70A7-E5F3-46D0-B278-ECABBFABD1CE}">
      <dsp:nvSpPr>
        <dsp:cNvPr id="0" name=""/>
        <dsp:cNvSpPr/>
      </dsp:nvSpPr>
      <dsp:spPr>
        <a:xfrm>
          <a:off x="308107" y="1504352"/>
          <a:ext cx="560195" cy="5601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A4194E1-E24E-438E-8C09-269AA18E7E9F}">
      <dsp:nvSpPr>
        <dsp:cNvPr id="0" name=""/>
        <dsp:cNvSpPr/>
      </dsp:nvSpPr>
      <dsp:spPr>
        <a:xfrm>
          <a:off x="1176411" y="1275181"/>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89000">
            <a:lnSpc>
              <a:spcPct val="90000"/>
            </a:lnSpc>
            <a:spcBef>
              <a:spcPct val="0"/>
            </a:spcBef>
            <a:spcAft>
              <a:spcPct val="35000"/>
            </a:spcAft>
            <a:buNone/>
          </a:pPr>
          <a:r>
            <a:rPr lang="en-US" sz="2000" kern="1200"/>
            <a:t>If the employer knew, or should have known, of the harassing conduct and failed to take corrective action. </a:t>
          </a:r>
        </a:p>
      </dsp:txBody>
      <dsp:txXfrm>
        <a:off x="1176411" y="1275181"/>
        <a:ext cx="6898424" cy="1018537"/>
      </dsp:txXfrm>
    </dsp:sp>
    <dsp:sp modelId="{4BB54B63-B351-49CE-A44C-22A427D8CEF4}">
      <dsp:nvSpPr>
        <dsp:cNvPr id="0" name=""/>
        <dsp:cNvSpPr/>
      </dsp:nvSpPr>
      <dsp:spPr>
        <a:xfrm>
          <a:off x="0" y="2548354"/>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2EA97A-8A08-4A78-A86D-E5EFA5DC3E90}">
      <dsp:nvSpPr>
        <dsp:cNvPr id="0" name=""/>
        <dsp:cNvSpPr/>
      </dsp:nvSpPr>
      <dsp:spPr>
        <a:xfrm>
          <a:off x="308107" y="2777525"/>
          <a:ext cx="560195" cy="5601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A80738-64D9-49E4-BFA6-F1C9174726E5}">
      <dsp:nvSpPr>
        <dsp:cNvPr id="0" name=""/>
        <dsp:cNvSpPr/>
      </dsp:nvSpPr>
      <dsp:spPr>
        <a:xfrm>
          <a:off x="1176411" y="2548354"/>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89000">
            <a:lnSpc>
              <a:spcPct val="90000"/>
            </a:lnSpc>
            <a:spcBef>
              <a:spcPct val="0"/>
            </a:spcBef>
            <a:spcAft>
              <a:spcPct val="35000"/>
            </a:spcAft>
            <a:buNone/>
          </a:pPr>
          <a:r>
            <a:rPr lang="en-US" sz="2000" kern="1200"/>
            <a:t>Not taking complaints seriously or retaliation against a complainant</a:t>
          </a:r>
        </a:p>
      </dsp:txBody>
      <dsp:txXfrm>
        <a:off x="1176411" y="2548354"/>
        <a:ext cx="6898424" cy="1018537"/>
      </dsp:txXfrm>
    </dsp:sp>
    <dsp:sp modelId="{578E97E6-BDCC-43FE-A351-0989684F5858}">
      <dsp:nvSpPr>
        <dsp:cNvPr id="0" name=""/>
        <dsp:cNvSpPr/>
      </dsp:nvSpPr>
      <dsp:spPr>
        <a:xfrm>
          <a:off x="0" y="3821526"/>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42A9B8F-9A17-405D-9EA7-4E2EC63986CC}">
      <dsp:nvSpPr>
        <dsp:cNvPr id="0" name=""/>
        <dsp:cNvSpPr/>
      </dsp:nvSpPr>
      <dsp:spPr>
        <a:xfrm>
          <a:off x="308107" y="4050697"/>
          <a:ext cx="560195" cy="5601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C2EA64-31A6-40F4-BD3E-5CCAC0208B81}">
      <dsp:nvSpPr>
        <dsp:cNvPr id="0" name=""/>
        <dsp:cNvSpPr/>
      </dsp:nvSpPr>
      <dsp:spPr>
        <a:xfrm>
          <a:off x="1176411" y="3821526"/>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89000">
            <a:lnSpc>
              <a:spcPct val="90000"/>
            </a:lnSpc>
            <a:spcBef>
              <a:spcPct val="0"/>
            </a:spcBef>
            <a:spcAft>
              <a:spcPct val="35000"/>
            </a:spcAft>
            <a:buNone/>
          </a:pPr>
          <a:r>
            <a:rPr lang="en-US" sz="2000" kern="1200"/>
            <a:t>Liability may extend to off-premises activities, including at employer-sponsored off-site activities and during business travel</a:t>
          </a:r>
        </a:p>
      </dsp:txBody>
      <dsp:txXfrm>
        <a:off x="1176411" y="3821526"/>
        <a:ext cx="6898424" cy="10185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0E77E2-A8FD-4202-9C0A-429CE6CF0B91}">
      <dsp:nvSpPr>
        <dsp:cNvPr id="0" name=""/>
        <dsp:cNvSpPr/>
      </dsp:nvSpPr>
      <dsp:spPr>
        <a:xfrm>
          <a:off x="0" y="2502"/>
          <a:ext cx="4287434" cy="17005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Employee is subject to unwelcome sexual conduct</a:t>
          </a:r>
          <a:endParaRPr lang="en-US" sz="2400" kern="1200" dirty="0"/>
        </a:p>
      </dsp:txBody>
      <dsp:txXfrm>
        <a:off x="83016" y="85518"/>
        <a:ext cx="4121402" cy="1534554"/>
      </dsp:txXfrm>
    </dsp:sp>
    <dsp:sp modelId="{E5FD5710-6FEC-4EF3-8187-A662CFE549A7}">
      <dsp:nvSpPr>
        <dsp:cNvPr id="0" name=""/>
        <dsp:cNvSpPr/>
      </dsp:nvSpPr>
      <dsp:spPr>
        <a:xfrm>
          <a:off x="0" y="1717418"/>
          <a:ext cx="4287434" cy="17005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dirty="0"/>
            <a:t>Produces inferior terms and conditions of employment </a:t>
          </a:r>
          <a:endParaRPr lang="en-US" sz="2400" kern="1200" dirty="0"/>
        </a:p>
      </dsp:txBody>
      <dsp:txXfrm>
        <a:off x="83016" y="1800434"/>
        <a:ext cx="4121402" cy="1534554"/>
      </dsp:txXfrm>
    </dsp:sp>
    <dsp:sp modelId="{42C5A571-605F-4B57-BC60-19BB11CDD168}">
      <dsp:nvSpPr>
        <dsp:cNvPr id="0" name=""/>
        <dsp:cNvSpPr/>
      </dsp:nvSpPr>
      <dsp:spPr>
        <a:xfrm>
          <a:off x="0" y="3432335"/>
          <a:ext cx="4287434" cy="17005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a:t>Unreasonably interferes with performance or creates an intimidating, hostile, or offensive work environment</a:t>
          </a:r>
          <a:endParaRPr lang="en-US" sz="2400" kern="1200"/>
        </a:p>
      </dsp:txBody>
      <dsp:txXfrm>
        <a:off x="83016" y="3515351"/>
        <a:ext cx="4121402" cy="15345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9D09F1-13EA-4844-8F72-BE1E7299F9FA}">
      <dsp:nvSpPr>
        <dsp:cNvPr id="0" name=""/>
        <dsp:cNvSpPr/>
      </dsp:nvSpPr>
      <dsp:spPr>
        <a:xfrm>
          <a:off x="1343253" y="0"/>
          <a:ext cx="5634534" cy="5634534"/>
        </a:xfrm>
        <a:prstGeom prst="diamond">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6A5C2D-B33C-45BA-AF2B-B8ED9ACAA529}">
      <dsp:nvSpPr>
        <dsp:cNvPr id="0" name=""/>
        <dsp:cNvSpPr/>
      </dsp:nvSpPr>
      <dsp:spPr>
        <a:xfrm>
          <a:off x="1878534" y="535280"/>
          <a:ext cx="2197468" cy="219746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t>Unwelcome </a:t>
          </a:r>
          <a:endParaRPr lang="en-US" sz="1800" kern="1200"/>
        </a:p>
      </dsp:txBody>
      <dsp:txXfrm>
        <a:off x="1985806" y="642552"/>
        <a:ext cx="1982924" cy="1982924"/>
      </dsp:txXfrm>
    </dsp:sp>
    <dsp:sp modelId="{22282617-0EBA-4104-9159-98764B60887A}">
      <dsp:nvSpPr>
        <dsp:cNvPr id="0" name=""/>
        <dsp:cNvSpPr/>
      </dsp:nvSpPr>
      <dsp:spPr>
        <a:xfrm>
          <a:off x="4245038" y="535280"/>
          <a:ext cx="2197468" cy="219746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t>Based upon sex</a:t>
          </a:r>
          <a:endParaRPr lang="en-US" sz="1800" kern="1200" dirty="0"/>
        </a:p>
      </dsp:txBody>
      <dsp:txXfrm>
        <a:off x="4352310" y="642552"/>
        <a:ext cx="1982924" cy="1982924"/>
      </dsp:txXfrm>
    </dsp:sp>
    <dsp:sp modelId="{2464BA47-0FD6-4E8D-A85A-32A8593A119C}">
      <dsp:nvSpPr>
        <dsp:cNvPr id="0" name=""/>
        <dsp:cNvSpPr/>
      </dsp:nvSpPr>
      <dsp:spPr>
        <a:xfrm>
          <a:off x="1878534" y="2901785"/>
          <a:ext cx="2197468" cy="219746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t>Interferes with work performance, OR creates an intimidating, hostile, or offensive work environment</a:t>
          </a:r>
          <a:endParaRPr lang="en-US" sz="1800" kern="1200"/>
        </a:p>
      </dsp:txBody>
      <dsp:txXfrm>
        <a:off x="1985806" y="3009057"/>
        <a:ext cx="1982924" cy="1982924"/>
      </dsp:txXfrm>
    </dsp:sp>
    <dsp:sp modelId="{C9F6DA6F-B5F0-4449-8600-005041FEDB00}">
      <dsp:nvSpPr>
        <dsp:cNvPr id="0" name=""/>
        <dsp:cNvSpPr/>
      </dsp:nvSpPr>
      <dsp:spPr>
        <a:xfrm>
          <a:off x="4245038" y="2901785"/>
          <a:ext cx="2197468" cy="2197468"/>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a:t>A basis for holding the employer responsible</a:t>
          </a:r>
          <a:endParaRPr lang="en-US" sz="1800" kern="1200"/>
        </a:p>
      </dsp:txBody>
      <dsp:txXfrm>
        <a:off x="4352310" y="3009057"/>
        <a:ext cx="1982924" cy="198292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27C3F3-26A1-4338-BA4E-AC458D3F0C7E}">
      <dsp:nvSpPr>
        <dsp:cNvPr id="0" name=""/>
        <dsp:cNvSpPr/>
      </dsp:nvSpPr>
      <dsp:spPr>
        <a:xfrm>
          <a:off x="0" y="1908848"/>
          <a:ext cx="8074836" cy="313972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808" tIns="241808" rIns="241808" bIns="241808" numCol="1" spcCol="1270" anchor="ctr" anchorCtr="0">
          <a:noAutofit/>
        </a:bodyPr>
        <a:lstStyle/>
        <a:p>
          <a:pPr marL="0" lvl="0" indent="0" algn="ctr" defTabSz="1511300">
            <a:lnSpc>
              <a:spcPct val="90000"/>
            </a:lnSpc>
            <a:spcBef>
              <a:spcPct val="0"/>
            </a:spcBef>
            <a:spcAft>
              <a:spcPct val="35000"/>
            </a:spcAft>
            <a:buNone/>
          </a:pPr>
          <a:r>
            <a:rPr lang="en-US" sz="3400" b="0" i="0" kern="1200" dirty="0"/>
            <a:t>Three elements:</a:t>
          </a:r>
          <a:endParaRPr lang="en-US" sz="3400" kern="1200" dirty="0"/>
        </a:p>
      </dsp:txBody>
      <dsp:txXfrm>
        <a:off x="0" y="1908848"/>
        <a:ext cx="8074836" cy="1695452"/>
      </dsp:txXfrm>
    </dsp:sp>
    <dsp:sp modelId="{9E4086AF-9D58-4365-963F-30F553248CCE}">
      <dsp:nvSpPr>
        <dsp:cNvPr id="0" name=""/>
        <dsp:cNvSpPr/>
      </dsp:nvSpPr>
      <dsp:spPr>
        <a:xfrm>
          <a:off x="3942" y="3239413"/>
          <a:ext cx="2688983" cy="162264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marL="0" lvl="0" indent="0" algn="ctr" defTabSz="800100">
            <a:lnSpc>
              <a:spcPct val="90000"/>
            </a:lnSpc>
            <a:spcBef>
              <a:spcPct val="0"/>
            </a:spcBef>
            <a:spcAft>
              <a:spcPct val="35000"/>
            </a:spcAft>
            <a:buNone/>
          </a:pPr>
          <a:r>
            <a:rPr lang="en-US" sz="1800" b="0" i="0" kern="1200" dirty="0"/>
            <a:t>Unwelcome sexual advances or requests for sexual favors</a:t>
          </a:r>
          <a:endParaRPr lang="en-US" sz="1800" kern="1200" dirty="0"/>
        </a:p>
      </dsp:txBody>
      <dsp:txXfrm>
        <a:off x="3942" y="3239413"/>
        <a:ext cx="2688983" cy="1622645"/>
      </dsp:txXfrm>
    </dsp:sp>
    <dsp:sp modelId="{41D72080-718B-4254-9236-23170E8071F6}">
      <dsp:nvSpPr>
        <dsp:cNvPr id="0" name=""/>
        <dsp:cNvSpPr/>
      </dsp:nvSpPr>
      <dsp:spPr>
        <a:xfrm>
          <a:off x="2692926" y="3235829"/>
          <a:ext cx="2688983" cy="1613035"/>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marL="0" lvl="0" indent="0" algn="ctr" defTabSz="800100">
            <a:lnSpc>
              <a:spcPct val="90000"/>
            </a:lnSpc>
            <a:spcBef>
              <a:spcPct val="0"/>
            </a:spcBef>
            <a:spcAft>
              <a:spcPct val="35000"/>
            </a:spcAft>
            <a:buNone/>
          </a:pPr>
          <a:r>
            <a:rPr lang="en-US" sz="1800" b="0" i="0" kern="1200"/>
            <a:t>Advances are based on employee’s sex</a:t>
          </a:r>
          <a:endParaRPr lang="en-US" sz="1800" kern="1200" dirty="0"/>
        </a:p>
      </dsp:txBody>
      <dsp:txXfrm>
        <a:off x="2692926" y="3235829"/>
        <a:ext cx="2688983" cy="1613035"/>
      </dsp:txXfrm>
    </dsp:sp>
    <dsp:sp modelId="{D41B4C0A-4B19-4F56-A34D-3407735F104A}">
      <dsp:nvSpPr>
        <dsp:cNvPr id="0" name=""/>
        <dsp:cNvSpPr/>
      </dsp:nvSpPr>
      <dsp:spPr>
        <a:xfrm>
          <a:off x="5381909" y="3237697"/>
          <a:ext cx="2688983" cy="16092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marL="0" lvl="0" indent="0" algn="ctr" defTabSz="800100">
            <a:lnSpc>
              <a:spcPct val="90000"/>
            </a:lnSpc>
            <a:spcBef>
              <a:spcPct val="0"/>
            </a:spcBef>
            <a:spcAft>
              <a:spcPct val="35000"/>
            </a:spcAft>
            <a:buNone/>
          </a:pPr>
          <a:r>
            <a:rPr lang="en-US" sz="1800" b="0" i="0" kern="1200" dirty="0"/>
            <a:t>Submission is an express or implied condition for receiving job benefits, or the employee’s refusal results in a tangible job detriment</a:t>
          </a:r>
          <a:endParaRPr lang="en-US" sz="1800" kern="1200" dirty="0"/>
        </a:p>
      </dsp:txBody>
      <dsp:txXfrm>
        <a:off x="5381909" y="3237697"/>
        <a:ext cx="2688983" cy="1609299"/>
      </dsp:txXfrm>
    </dsp:sp>
    <dsp:sp modelId="{7B1E7B04-BF39-4E56-A306-FF5059BEFD74}">
      <dsp:nvSpPr>
        <dsp:cNvPr id="0" name=""/>
        <dsp:cNvSpPr/>
      </dsp:nvSpPr>
      <dsp:spPr>
        <a:xfrm rot="10800000">
          <a:off x="0" y="1017"/>
          <a:ext cx="8074836" cy="1942152"/>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0" i="0" kern="1200" dirty="0"/>
            <a:t>When a </a:t>
          </a:r>
          <a:r>
            <a:rPr lang="en-US" sz="2400" b="0" i="0" u="sng" kern="1200" dirty="0"/>
            <a:t>supervisor</a:t>
          </a:r>
          <a:r>
            <a:rPr lang="en-US" sz="2400" b="0" i="0" kern="1200" dirty="0"/>
            <a:t> conditions employment or employment-related opportunities on the employee’s willingness to submit to or tolerate sexual advances</a:t>
          </a:r>
          <a:r>
            <a:rPr lang="en-US" sz="2700" b="0" i="0" kern="1200" dirty="0"/>
            <a:t>. </a:t>
          </a:r>
          <a:endParaRPr lang="en-US" sz="2700" kern="1200" dirty="0"/>
        </a:p>
      </dsp:txBody>
      <dsp:txXfrm rot="10800000">
        <a:off x="0" y="1017"/>
        <a:ext cx="8074836" cy="12619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978D6-BBCF-4771-813E-7B90DC6B39EA}">
      <dsp:nvSpPr>
        <dsp:cNvPr id="0" name=""/>
        <dsp:cNvSpPr/>
      </dsp:nvSpPr>
      <dsp:spPr>
        <a:xfrm>
          <a:off x="0" y="77681"/>
          <a:ext cx="8074836" cy="1510396"/>
        </a:xfrm>
        <a:prstGeom prst="roundRect">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a:t>Hostile Work Environment – "reasonable person standard"</a:t>
          </a:r>
        </a:p>
      </dsp:txBody>
      <dsp:txXfrm>
        <a:off x="73731" y="151412"/>
        <a:ext cx="7927374" cy="1362934"/>
      </dsp:txXfrm>
    </dsp:sp>
    <dsp:sp modelId="{C729C296-2A09-462F-8452-CE3C9FAC439E}">
      <dsp:nvSpPr>
        <dsp:cNvPr id="0" name=""/>
        <dsp:cNvSpPr/>
      </dsp:nvSpPr>
      <dsp:spPr>
        <a:xfrm>
          <a:off x="0" y="1665838"/>
          <a:ext cx="8074836" cy="1510396"/>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A reasonable person in the same circumstances would perceive the environment created by conduct as intimidating, hostile, abusive, or offensive</a:t>
          </a:r>
        </a:p>
      </dsp:txBody>
      <dsp:txXfrm>
        <a:off x="73731" y="1739569"/>
        <a:ext cx="7927374" cy="1362934"/>
      </dsp:txXfrm>
    </dsp:sp>
    <dsp:sp modelId="{C361C70B-CF1D-4895-B56B-5DE6C6AE1E39}">
      <dsp:nvSpPr>
        <dsp:cNvPr id="0" name=""/>
        <dsp:cNvSpPr/>
      </dsp:nvSpPr>
      <dsp:spPr>
        <a:xfrm>
          <a:off x="0" y="3253995"/>
          <a:ext cx="8074836" cy="1510396"/>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The reasonable person standard considers the victim’s perspective</a:t>
          </a:r>
        </a:p>
      </dsp:txBody>
      <dsp:txXfrm>
        <a:off x="73731" y="3327726"/>
        <a:ext cx="7927374" cy="13629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C713B6-2E9F-43FC-A9BE-1911A476F802}">
      <dsp:nvSpPr>
        <dsp:cNvPr id="0" name=""/>
        <dsp:cNvSpPr/>
      </dsp:nvSpPr>
      <dsp:spPr>
        <a:xfrm>
          <a:off x="0" y="0"/>
          <a:ext cx="6217623" cy="8715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No one should have to suffer through a hostile work environment, even if the conduct doesn't offend others. </a:t>
          </a:r>
        </a:p>
      </dsp:txBody>
      <dsp:txXfrm>
        <a:off x="25528" y="25528"/>
        <a:ext cx="5175153" cy="820517"/>
      </dsp:txXfrm>
    </dsp:sp>
    <dsp:sp modelId="{2C8E23F3-4AB0-4E3C-9CA6-272917C3E929}">
      <dsp:nvSpPr>
        <dsp:cNvPr id="0" name=""/>
        <dsp:cNvSpPr/>
      </dsp:nvSpPr>
      <dsp:spPr>
        <a:xfrm>
          <a:off x="464303" y="992625"/>
          <a:ext cx="6217623" cy="8715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The best way to handle uncomfortable situations may be at the lowest level – peer-to-peer communication can help resolve any conflict before it gets out of hand.</a:t>
          </a:r>
        </a:p>
      </dsp:txBody>
      <dsp:txXfrm>
        <a:off x="489831" y="1018153"/>
        <a:ext cx="5135741" cy="820517"/>
      </dsp:txXfrm>
    </dsp:sp>
    <dsp:sp modelId="{7E89BA45-0F56-42D7-BEEC-7A3E6984DE83}">
      <dsp:nvSpPr>
        <dsp:cNvPr id="0" name=""/>
        <dsp:cNvSpPr/>
      </dsp:nvSpPr>
      <dsp:spPr>
        <a:xfrm>
          <a:off x="928606" y="1985250"/>
          <a:ext cx="6217623" cy="8715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t>Nevertheless, talking to a supervisor or HR professional is always a safe option to choose. </a:t>
          </a:r>
        </a:p>
      </dsp:txBody>
      <dsp:txXfrm>
        <a:off x="954134" y="2010778"/>
        <a:ext cx="5135741" cy="820517"/>
      </dsp:txXfrm>
    </dsp:sp>
    <dsp:sp modelId="{F46E53A9-4BAC-4B99-9BC4-C9D2782803C9}">
      <dsp:nvSpPr>
        <dsp:cNvPr id="0" name=""/>
        <dsp:cNvSpPr/>
      </dsp:nvSpPr>
      <dsp:spPr>
        <a:xfrm>
          <a:off x="1392909" y="2977875"/>
          <a:ext cx="6217623" cy="8715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dirty="0"/>
            <a:t>Communication across the board is key to a healthy and happy work experience.</a:t>
          </a:r>
        </a:p>
      </dsp:txBody>
      <dsp:txXfrm>
        <a:off x="1418437" y="3003403"/>
        <a:ext cx="5135741" cy="820517"/>
      </dsp:txXfrm>
    </dsp:sp>
    <dsp:sp modelId="{83687864-BB53-4260-A148-F3EE58D6F6A7}">
      <dsp:nvSpPr>
        <dsp:cNvPr id="0" name=""/>
        <dsp:cNvSpPr/>
      </dsp:nvSpPr>
      <dsp:spPr>
        <a:xfrm>
          <a:off x="1857212" y="3970500"/>
          <a:ext cx="6217623" cy="87157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t>Your role as a bystander can greatly influence whether someone gets the assistance they need.</a:t>
          </a:r>
        </a:p>
      </dsp:txBody>
      <dsp:txXfrm>
        <a:off x="1882740" y="3996028"/>
        <a:ext cx="5135741" cy="820517"/>
      </dsp:txXfrm>
    </dsp:sp>
    <dsp:sp modelId="{76D979DE-AEE7-4499-808D-00D1128B95C5}">
      <dsp:nvSpPr>
        <dsp:cNvPr id="0" name=""/>
        <dsp:cNvSpPr/>
      </dsp:nvSpPr>
      <dsp:spPr>
        <a:xfrm>
          <a:off x="5651101" y="636732"/>
          <a:ext cx="566522" cy="566522"/>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5778568" y="636732"/>
        <a:ext cx="311588" cy="426308"/>
      </dsp:txXfrm>
    </dsp:sp>
    <dsp:sp modelId="{3E46C7AF-ED81-48A9-9A38-4E1984AD89F4}">
      <dsp:nvSpPr>
        <dsp:cNvPr id="0" name=""/>
        <dsp:cNvSpPr/>
      </dsp:nvSpPr>
      <dsp:spPr>
        <a:xfrm>
          <a:off x="6115404" y="1629357"/>
          <a:ext cx="566522" cy="566522"/>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242871" y="1629357"/>
        <a:ext cx="311588" cy="426308"/>
      </dsp:txXfrm>
    </dsp:sp>
    <dsp:sp modelId="{82FC2158-81F2-4ADD-8452-B99FAE4DC0F1}">
      <dsp:nvSpPr>
        <dsp:cNvPr id="0" name=""/>
        <dsp:cNvSpPr/>
      </dsp:nvSpPr>
      <dsp:spPr>
        <a:xfrm>
          <a:off x="6579707" y="2607456"/>
          <a:ext cx="566522" cy="566522"/>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707174" y="2607456"/>
        <a:ext cx="311588" cy="426308"/>
      </dsp:txXfrm>
    </dsp:sp>
    <dsp:sp modelId="{47BFA448-023E-4279-B97B-10D974338027}">
      <dsp:nvSpPr>
        <dsp:cNvPr id="0" name=""/>
        <dsp:cNvSpPr/>
      </dsp:nvSpPr>
      <dsp:spPr>
        <a:xfrm>
          <a:off x="7044010" y="3609766"/>
          <a:ext cx="566522" cy="566522"/>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171477" y="3609766"/>
        <a:ext cx="311588" cy="42630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D2F767-96F1-47F0-9B98-21D237EA4B9E}">
      <dsp:nvSpPr>
        <dsp:cNvPr id="0" name=""/>
        <dsp:cNvSpPr/>
      </dsp:nvSpPr>
      <dsp:spPr>
        <a:xfrm>
          <a:off x="0" y="0"/>
          <a:ext cx="8074836"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001C80-5663-468B-80EC-4159CF79AA16}">
      <dsp:nvSpPr>
        <dsp:cNvPr id="0" name=""/>
        <dsp:cNvSpPr/>
      </dsp:nvSpPr>
      <dsp:spPr>
        <a:xfrm>
          <a:off x="25318" y="0"/>
          <a:ext cx="2344849" cy="4842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t>Physical conduct can be sexual harassment, such as unwanted:</a:t>
          </a:r>
        </a:p>
      </dsp:txBody>
      <dsp:txXfrm>
        <a:off x="25318" y="0"/>
        <a:ext cx="2344849" cy="4842074"/>
      </dsp:txXfrm>
    </dsp:sp>
    <dsp:sp modelId="{FA7B188E-0470-494B-A0AA-76CA1D7FB0CC}">
      <dsp:nvSpPr>
        <dsp:cNvPr id="0" name=""/>
        <dsp:cNvSpPr/>
      </dsp:nvSpPr>
      <dsp:spPr>
        <a:xfrm>
          <a:off x="2452251" y="38124"/>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Kissing</a:t>
          </a:r>
        </a:p>
      </dsp:txBody>
      <dsp:txXfrm>
        <a:off x="2452251" y="38124"/>
        <a:ext cx="5620685" cy="762484"/>
      </dsp:txXfrm>
    </dsp:sp>
    <dsp:sp modelId="{E5774954-DE3E-4364-9724-9A5D74BA6EC6}">
      <dsp:nvSpPr>
        <dsp:cNvPr id="0" name=""/>
        <dsp:cNvSpPr/>
      </dsp:nvSpPr>
      <dsp:spPr>
        <a:xfrm>
          <a:off x="2344849" y="800609"/>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36DDB2-AE06-468F-96F2-D888D3CAE9AC}">
      <dsp:nvSpPr>
        <dsp:cNvPr id="0" name=""/>
        <dsp:cNvSpPr/>
      </dsp:nvSpPr>
      <dsp:spPr>
        <a:xfrm>
          <a:off x="2452251" y="838733"/>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Hugging</a:t>
          </a:r>
          <a:endParaRPr lang="en-US" sz="2900" b="1" kern="1200" dirty="0"/>
        </a:p>
      </dsp:txBody>
      <dsp:txXfrm>
        <a:off x="2452251" y="838733"/>
        <a:ext cx="5620685" cy="762484"/>
      </dsp:txXfrm>
    </dsp:sp>
    <dsp:sp modelId="{25CA783D-804A-4718-A65F-D633E2551F2E}">
      <dsp:nvSpPr>
        <dsp:cNvPr id="0" name=""/>
        <dsp:cNvSpPr/>
      </dsp:nvSpPr>
      <dsp:spPr>
        <a:xfrm>
          <a:off x="2344849" y="1601218"/>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20EA2B-965A-4571-89D8-0F22CC839CD2}">
      <dsp:nvSpPr>
        <dsp:cNvPr id="0" name=""/>
        <dsp:cNvSpPr/>
      </dsp:nvSpPr>
      <dsp:spPr>
        <a:xfrm>
          <a:off x="2452251" y="1639342"/>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Grabbing</a:t>
          </a:r>
        </a:p>
      </dsp:txBody>
      <dsp:txXfrm>
        <a:off x="2452251" y="1639342"/>
        <a:ext cx="5620685" cy="762484"/>
      </dsp:txXfrm>
    </dsp:sp>
    <dsp:sp modelId="{AABD15F3-D132-4FB4-AFDE-99D83C156B52}">
      <dsp:nvSpPr>
        <dsp:cNvPr id="0" name=""/>
        <dsp:cNvSpPr/>
      </dsp:nvSpPr>
      <dsp:spPr>
        <a:xfrm>
          <a:off x="2344849" y="2401827"/>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FC418A-23D7-4D55-A0FE-F1A0703D62CF}">
      <dsp:nvSpPr>
        <dsp:cNvPr id="0" name=""/>
        <dsp:cNvSpPr/>
      </dsp:nvSpPr>
      <dsp:spPr>
        <a:xfrm>
          <a:off x="2452251" y="2439951"/>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Touching</a:t>
          </a:r>
        </a:p>
      </dsp:txBody>
      <dsp:txXfrm>
        <a:off x="2452251" y="2439951"/>
        <a:ext cx="5620685" cy="762484"/>
      </dsp:txXfrm>
    </dsp:sp>
    <dsp:sp modelId="{92CE6935-93BE-4AE4-A6FA-BCF135B33571}">
      <dsp:nvSpPr>
        <dsp:cNvPr id="0" name=""/>
        <dsp:cNvSpPr/>
      </dsp:nvSpPr>
      <dsp:spPr>
        <a:xfrm>
          <a:off x="2344849" y="3202436"/>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4D419E0-7A45-4EDE-9CAF-33192D17489F}">
      <dsp:nvSpPr>
        <dsp:cNvPr id="0" name=""/>
        <dsp:cNvSpPr/>
      </dsp:nvSpPr>
      <dsp:spPr>
        <a:xfrm>
          <a:off x="2452251" y="3240560"/>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Impeding or blocking of movements</a:t>
          </a:r>
        </a:p>
      </dsp:txBody>
      <dsp:txXfrm>
        <a:off x="2452251" y="3240560"/>
        <a:ext cx="5620685" cy="762484"/>
      </dsp:txXfrm>
    </dsp:sp>
    <dsp:sp modelId="{B37EE827-1F0A-4D90-AC5C-14715A36C966}">
      <dsp:nvSpPr>
        <dsp:cNvPr id="0" name=""/>
        <dsp:cNvSpPr/>
      </dsp:nvSpPr>
      <dsp:spPr>
        <a:xfrm>
          <a:off x="2344849" y="4003045"/>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BB7369-F88E-416A-8EE4-F27EE06C5620}">
      <dsp:nvSpPr>
        <dsp:cNvPr id="0" name=""/>
        <dsp:cNvSpPr/>
      </dsp:nvSpPr>
      <dsp:spPr>
        <a:xfrm>
          <a:off x="2452251" y="4041169"/>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0490" tIns="110490" rIns="110490" bIns="110490" numCol="1" spcCol="1270" anchor="t" anchorCtr="0">
          <a:noAutofit/>
        </a:bodyPr>
        <a:lstStyle/>
        <a:p>
          <a:pPr marL="0" lvl="0" indent="0" algn="l" defTabSz="1289050">
            <a:lnSpc>
              <a:spcPct val="90000"/>
            </a:lnSpc>
            <a:spcBef>
              <a:spcPct val="0"/>
            </a:spcBef>
            <a:spcAft>
              <a:spcPct val="35000"/>
            </a:spcAft>
            <a:buNone/>
          </a:pPr>
          <a:r>
            <a:rPr lang="en-US" sz="2900" kern="1200" dirty="0"/>
            <a:t>Assault</a:t>
          </a:r>
        </a:p>
      </dsp:txBody>
      <dsp:txXfrm>
        <a:off x="2452251" y="4041169"/>
        <a:ext cx="5620685" cy="762484"/>
      </dsp:txXfrm>
    </dsp:sp>
    <dsp:sp modelId="{BE967B57-0147-4930-8A8F-88958A2ECA63}">
      <dsp:nvSpPr>
        <dsp:cNvPr id="0" name=""/>
        <dsp:cNvSpPr/>
      </dsp:nvSpPr>
      <dsp:spPr>
        <a:xfrm>
          <a:off x="2344849" y="4803654"/>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D2F767-96F1-47F0-9B98-21D237EA4B9E}">
      <dsp:nvSpPr>
        <dsp:cNvPr id="0" name=""/>
        <dsp:cNvSpPr/>
      </dsp:nvSpPr>
      <dsp:spPr>
        <a:xfrm>
          <a:off x="0" y="0"/>
          <a:ext cx="8074836"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001C80-5663-468B-80EC-4159CF79AA16}">
      <dsp:nvSpPr>
        <dsp:cNvPr id="0" name=""/>
        <dsp:cNvSpPr/>
      </dsp:nvSpPr>
      <dsp:spPr>
        <a:xfrm>
          <a:off x="25318" y="0"/>
          <a:ext cx="2344849" cy="4842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t>Verbal conduct can be sexual harassment, such as unwanted:</a:t>
          </a:r>
        </a:p>
      </dsp:txBody>
      <dsp:txXfrm>
        <a:off x="25318" y="0"/>
        <a:ext cx="2344849" cy="4842074"/>
      </dsp:txXfrm>
    </dsp:sp>
    <dsp:sp modelId="{FA7B188E-0470-494B-A0AA-76CA1D7FB0CC}">
      <dsp:nvSpPr>
        <dsp:cNvPr id="0" name=""/>
        <dsp:cNvSpPr/>
      </dsp:nvSpPr>
      <dsp:spPr>
        <a:xfrm>
          <a:off x="2452251" y="38124"/>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a:t>Foul or obscene language</a:t>
          </a:r>
        </a:p>
      </dsp:txBody>
      <dsp:txXfrm>
        <a:off x="2452251" y="38124"/>
        <a:ext cx="5620685" cy="762484"/>
      </dsp:txXfrm>
    </dsp:sp>
    <dsp:sp modelId="{E5774954-DE3E-4364-9724-9A5D74BA6EC6}">
      <dsp:nvSpPr>
        <dsp:cNvPr id="0" name=""/>
        <dsp:cNvSpPr/>
      </dsp:nvSpPr>
      <dsp:spPr>
        <a:xfrm>
          <a:off x="2344849" y="800609"/>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036DDB2-AE06-468F-96F2-D888D3CAE9AC}">
      <dsp:nvSpPr>
        <dsp:cNvPr id="0" name=""/>
        <dsp:cNvSpPr/>
      </dsp:nvSpPr>
      <dsp:spPr>
        <a:xfrm>
          <a:off x="2452251" y="838733"/>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dirty="0"/>
            <a:t>Derogatory comments – sex or gender-based</a:t>
          </a:r>
        </a:p>
      </dsp:txBody>
      <dsp:txXfrm>
        <a:off x="2452251" y="838733"/>
        <a:ext cx="5620685" cy="762484"/>
      </dsp:txXfrm>
    </dsp:sp>
    <dsp:sp modelId="{25CA783D-804A-4718-A65F-D633E2551F2E}">
      <dsp:nvSpPr>
        <dsp:cNvPr id="0" name=""/>
        <dsp:cNvSpPr/>
      </dsp:nvSpPr>
      <dsp:spPr>
        <a:xfrm>
          <a:off x="2344849" y="1601218"/>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20EA2B-965A-4571-89D8-0F22CC839CD2}">
      <dsp:nvSpPr>
        <dsp:cNvPr id="0" name=""/>
        <dsp:cNvSpPr/>
      </dsp:nvSpPr>
      <dsp:spPr>
        <a:xfrm>
          <a:off x="2452251" y="1639342"/>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a:t>Explicit discussions of sexual activities</a:t>
          </a:r>
        </a:p>
      </dsp:txBody>
      <dsp:txXfrm>
        <a:off x="2452251" y="1639342"/>
        <a:ext cx="5620685" cy="762484"/>
      </dsp:txXfrm>
    </dsp:sp>
    <dsp:sp modelId="{AABD15F3-D132-4FB4-AFDE-99D83C156B52}">
      <dsp:nvSpPr>
        <dsp:cNvPr id="0" name=""/>
        <dsp:cNvSpPr/>
      </dsp:nvSpPr>
      <dsp:spPr>
        <a:xfrm>
          <a:off x="2344849" y="2401827"/>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FC418A-23D7-4D55-A0FE-F1A0703D62CF}">
      <dsp:nvSpPr>
        <dsp:cNvPr id="0" name=""/>
        <dsp:cNvSpPr/>
      </dsp:nvSpPr>
      <dsp:spPr>
        <a:xfrm>
          <a:off x="2452251" y="2439951"/>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a:t>Comments about physical or sexual attributes</a:t>
          </a:r>
        </a:p>
      </dsp:txBody>
      <dsp:txXfrm>
        <a:off x="2452251" y="2439951"/>
        <a:ext cx="5620685" cy="762484"/>
      </dsp:txXfrm>
    </dsp:sp>
    <dsp:sp modelId="{92CE6935-93BE-4AE4-A6FA-BCF135B33571}">
      <dsp:nvSpPr>
        <dsp:cNvPr id="0" name=""/>
        <dsp:cNvSpPr/>
      </dsp:nvSpPr>
      <dsp:spPr>
        <a:xfrm>
          <a:off x="2344849" y="3202436"/>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4D419E0-7A45-4EDE-9CAF-33192D17489F}">
      <dsp:nvSpPr>
        <dsp:cNvPr id="0" name=""/>
        <dsp:cNvSpPr/>
      </dsp:nvSpPr>
      <dsp:spPr>
        <a:xfrm>
          <a:off x="2452251" y="3240560"/>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a:t>Sexual innuendo or sexual jokes</a:t>
          </a:r>
        </a:p>
      </dsp:txBody>
      <dsp:txXfrm>
        <a:off x="2452251" y="3240560"/>
        <a:ext cx="5620685" cy="762484"/>
      </dsp:txXfrm>
    </dsp:sp>
    <dsp:sp modelId="{B37EE827-1F0A-4D90-AC5C-14715A36C966}">
      <dsp:nvSpPr>
        <dsp:cNvPr id="0" name=""/>
        <dsp:cNvSpPr/>
      </dsp:nvSpPr>
      <dsp:spPr>
        <a:xfrm>
          <a:off x="2344849" y="4003045"/>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BB7369-F88E-416A-8EE4-F27EE06C5620}">
      <dsp:nvSpPr>
        <dsp:cNvPr id="0" name=""/>
        <dsp:cNvSpPr/>
      </dsp:nvSpPr>
      <dsp:spPr>
        <a:xfrm>
          <a:off x="2452251" y="4041169"/>
          <a:ext cx="5620685" cy="7624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US" sz="2300" kern="1200"/>
            <a:t>Rumors</a:t>
          </a:r>
        </a:p>
      </dsp:txBody>
      <dsp:txXfrm>
        <a:off x="2452251" y="4041169"/>
        <a:ext cx="5620685" cy="762484"/>
      </dsp:txXfrm>
    </dsp:sp>
    <dsp:sp modelId="{BE967B57-0147-4930-8A8F-88958A2ECA63}">
      <dsp:nvSpPr>
        <dsp:cNvPr id="0" name=""/>
        <dsp:cNvSpPr/>
      </dsp:nvSpPr>
      <dsp:spPr>
        <a:xfrm>
          <a:off x="2344849" y="4803654"/>
          <a:ext cx="572808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601054-612F-4984-8750-736A5911B21E}">
      <dsp:nvSpPr>
        <dsp:cNvPr id="0" name=""/>
        <dsp:cNvSpPr/>
      </dsp:nvSpPr>
      <dsp:spPr>
        <a:xfrm>
          <a:off x="0" y="0"/>
          <a:ext cx="8074836"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DF4B48-2D4C-443E-BD22-BF5BFB509D5F}">
      <dsp:nvSpPr>
        <dsp:cNvPr id="0" name=""/>
        <dsp:cNvSpPr/>
      </dsp:nvSpPr>
      <dsp:spPr>
        <a:xfrm>
          <a:off x="0" y="0"/>
          <a:ext cx="2145353" cy="4842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dirty="0"/>
            <a:t>Visual or written conduct can also be sexual harassment, such as unwanted:</a:t>
          </a:r>
        </a:p>
      </dsp:txBody>
      <dsp:txXfrm>
        <a:off x="0" y="0"/>
        <a:ext cx="2145353" cy="4842074"/>
      </dsp:txXfrm>
    </dsp:sp>
    <dsp:sp modelId="{AF89559D-5885-4018-87A7-1D664F7DA9DB}">
      <dsp:nvSpPr>
        <dsp:cNvPr id="0" name=""/>
        <dsp:cNvSpPr/>
      </dsp:nvSpPr>
      <dsp:spPr>
        <a:xfrm>
          <a:off x="2256421" y="45630"/>
          <a:ext cx="5812580"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Leering</a:t>
          </a:r>
        </a:p>
      </dsp:txBody>
      <dsp:txXfrm>
        <a:off x="2256421" y="45630"/>
        <a:ext cx="5812580" cy="912617"/>
      </dsp:txXfrm>
    </dsp:sp>
    <dsp:sp modelId="{06193558-81C3-469C-90BD-119AD69E9186}">
      <dsp:nvSpPr>
        <dsp:cNvPr id="0" name=""/>
        <dsp:cNvSpPr/>
      </dsp:nvSpPr>
      <dsp:spPr>
        <a:xfrm>
          <a:off x="2145353" y="958248"/>
          <a:ext cx="592364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1AD668-4B88-4CCD-8A4D-F73EC909D758}">
      <dsp:nvSpPr>
        <dsp:cNvPr id="0" name=""/>
        <dsp:cNvSpPr/>
      </dsp:nvSpPr>
      <dsp:spPr>
        <a:xfrm>
          <a:off x="2256421" y="1003879"/>
          <a:ext cx="5812580"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Staring</a:t>
          </a:r>
        </a:p>
      </dsp:txBody>
      <dsp:txXfrm>
        <a:off x="2256421" y="1003879"/>
        <a:ext cx="5812580" cy="912617"/>
      </dsp:txXfrm>
    </dsp:sp>
    <dsp:sp modelId="{EA7C57B3-E997-4F4A-8CDC-6DAE52C5629C}">
      <dsp:nvSpPr>
        <dsp:cNvPr id="0" name=""/>
        <dsp:cNvSpPr/>
      </dsp:nvSpPr>
      <dsp:spPr>
        <a:xfrm>
          <a:off x="2145353" y="1916496"/>
          <a:ext cx="592364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EC15DE-6A48-4D0C-A553-4D577B2A7649}">
      <dsp:nvSpPr>
        <dsp:cNvPr id="0" name=""/>
        <dsp:cNvSpPr/>
      </dsp:nvSpPr>
      <dsp:spPr>
        <a:xfrm>
          <a:off x="2256421" y="1962127"/>
          <a:ext cx="5812580"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Sexual gesturing</a:t>
          </a:r>
        </a:p>
      </dsp:txBody>
      <dsp:txXfrm>
        <a:off x="2256421" y="1962127"/>
        <a:ext cx="5812580" cy="912617"/>
      </dsp:txXfrm>
    </dsp:sp>
    <dsp:sp modelId="{DE3ECEDF-86CF-440C-A859-06473E1C0D61}">
      <dsp:nvSpPr>
        <dsp:cNvPr id="0" name=""/>
        <dsp:cNvSpPr/>
      </dsp:nvSpPr>
      <dsp:spPr>
        <a:xfrm>
          <a:off x="2145353" y="2874745"/>
          <a:ext cx="592364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F10462E-B44D-41D7-BF53-18DA847979E9}">
      <dsp:nvSpPr>
        <dsp:cNvPr id="0" name=""/>
        <dsp:cNvSpPr/>
      </dsp:nvSpPr>
      <dsp:spPr>
        <a:xfrm>
          <a:off x="2256421" y="2920375"/>
          <a:ext cx="5812580"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Displaying sexually suggestive or explicit objects, pictures, or videos</a:t>
          </a:r>
        </a:p>
      </dsp:txBody>
      <dsp:txXfrm>
        <a:off x="2256421" y="2920375"/>
        <a:ext cx="5812580" cy="912617"/>
      </dsp:txXfrm>
    </dsp:sp>
    <dsp:sp modelId="{E7801F89-3978-4FCB-A1FA-55AFFA252E54}">
      <dsp:nvSpPr>
        <dsp:cNvPr id="0" name=""/>
        <dsp:cNvSpPr/>
      </dsp:nvSpPr>
      <dsp:spPr>
        <a:xfrm>
          <a:off x="2145353" y="3832993"/>
          <a:ext cx="592364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CF9578-0452-4650-965C-EAF3582D6CA3}">
      <dsp:nvSpPr>
        <dsp:cNvPr id="0" name=""/>
        <dsp:cNvSpPr/>
      </dsp:nvSpPr>
      <dsp:spPr>
        <a:xfrm>
          <a:off x="2256421" y="3878624"/>
          <a:ext cx="5812580" cy="91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a:t>Sending sexually suggestive or explicit emails, text messages, or other electronic communications</a:t>
          </a:r>
        </a:p>
      </dsp:txBody>
      <dsp:txXfrm>
        <a:off x="2256421" y="3878624"/>
        <a:ext cx="5812580" cy="912617"/>
      </dsp:txXfrm>
    </dsp:sp>
    <dsp:sp modelId="{26FC7588-F887-4E82-8A66-926A82CF2EFE}">
      <dsp:nvSpPr>
        <dsp:cNvPr id="0" name=""/>
        <dsp:cNvSpPr/>
      </dsp:nvSpPr>
      <dsp:spPr>
        <a:xfrm>
          <a:off x="2145353" y="4791241"/>
          <a:ext cx="592364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txBody>
          <a:bodyPr vert="horz" lIns="91001" tIns="45502" rIns="91001" bIns="45502" rtlCol="0" anchor="ctr"/>
          <a:lstStyle/>
          <a:p>
            <a:endParaRPr lang="en-US"/>
          </a:p>
        </p:txBody>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pPr/>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pPr/>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dirty="0"/>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2</a:t>
            </a:fld>
            <a:endParaRPr lang="en-US"/>
          </a:p>
        </p:txBody>
      </p:sp>
    </p:spTree>
    <p:extLst>
      <p:ext uri="{BB962C8B-B14F-4D97-AF65-F5344CB8AC3E}">
        <p14:creationId xmlns:p14="http://schemas.microsoft.com/office/powerpoint/2010/main" val="2135535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05FC04-006C-4370-AA2A-61F90C8564E7}" type="slidenum">
              <a:rPr kumimoji="0" lang="en-US" sz="1000" b="0" i="0" u="none" strike="noStrike" kern="1200" cap="none" spc="0" normalizeH="0" baseline="0" noProof="0" smtClean="0">
                <a:ln>
                  <a:noFill/>
                </a:ln>
                <a:solidFill>
                  <a:srgbClr val="20386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20386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583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05FC04-006C-4370-AA2A-61F90C8564E7}" type="slidenum">
              <a:rPr kumimoji="0" lang="en-US" sz="1000" b="0" i="0" u="none" strike="noStrike" kern="1200" cap="none" spc="0" normalizeH="0" baseline="0" noProof="0" smtClean="0">
                <a:ln>
                  <a:noFill/>
                </a:ln>
                <a:solidFill>
                  <a:srgbClr val="20386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20386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5806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05FC04-006C-4370-AA2A-61F90C8564E7}" type="slidenum">
              <a:rPr kumimoji="0" lang="en-US" sz="1000" b="0" i="0" u="none" strike="noStrike" kern="1200" cap="none" spc="0" normalizeH="0" baseline="0" noProof="0" smtClean="0">
                <a:ln>
                  <a:noFill/>
                </a:ln>
                <a:solidFill>
                  <a:srgbClr val="20386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20386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303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05FC04-006C-4370-AA2A-61F90C8564E7}" type="slidenum">
              <a:rPr kumimoji="0" lang="en-US" sz="1000" b="0" i="0" u="none" strike="noStrike" kern="1200" cap="none" spc="0" normalizeH="0" baseline="0" noProof="0" smtClean="0">
                <a:ln>
                  <a:noFill/>
                </a:ln>
                <a:solidFill>
                  <a:srgbClr val="20386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20386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396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the group to see which response they want to go with. Go through each option and evaluate them all using the next few slides. </a:t>
            </a:r>
          </a:p>
        </p:txBody>
      </p:sp>
      <p:sp>
        <p:nvSpPr>
          <p:cNvPr id="4" name="Slide Number Placeholder 3"/>
          <p:cNvSpPr>
            <a:spLocks noGrp="1"/>
          </p:cNvSpPr>
          <p:nvPr>
            <p:ph type="sldNum" sz="quarter" idx="5"/>
          </p:nvPr>
        </p:nvSpPr>
        <p:spPr/>
        <p:txBody>
          <a:bodyPr/>
          <a:lstStyle/>
          <a:p>
            <a:fld id="{AA05FC04-006C-4370-AA2A-61F90C8564E7}" type="slidenum">
              <a:rPr lang="en-US" smtClean="0"/>
              <a:pPr/>
              <a:t>9</a:t>
            </a:fld>
            <a:endParaRPr lang="en-US"/>
          </a:p>
        </p:txBody>
      </p:sp>
    </p:spTree>
    <p:extLst>
      <p:ext uri="{BB962C8B-B14F-4D97-AF65-F5344CB8AC3E}">
        <p14:creationId xmlns:p14="http://schemas.microsoft.com/office/powerpoint/2010/main" val="106041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94949"/>
                </a:solidFill>
                <a:effectLst/>
                <a:latin typeface="proxima-nova"/>
              </a:rPr>
              <a:t>Quid pro quo (this for that) harassment occurs when someone in a position of authority over another (i.e., a manager or supervisor) directly or indirectly demands sexual favors in exchange for some benefit (a promotion, pay increase, etc.) or to avoid some detriment (termination, demotion, etc.) in the workplace.</a:t>
            </a:r>
            <a:endParaRPr lang="en-US" dirty="0"/>
          </a:p>
        </p:txBody>
      </p:sp>
      <p:sp>
        <p:nvSpPr>
          <p:cNvPr id="4" name="Slide Number Placeholder 3"/>
          <p:cNvSpPr>
            <a:spLocks noGrp="1"/>
          </p:cNvSpPr>
          <p:nvPr>
            <p:ph type="sldNum" sz="quarter" idx="5"/>
          </p:nvPr>
        </p:nvSpPr>
        <p:spPr/>
        <p:txBody>
          <a:bodyPr/>
          <a:lstStyle/>
          <a:p>
            <a:fld id="{AA05FC04-006C-4370-AA2A-61F90C8564E7}" type="slidenum">
              <a:rPr lang="en-US" smtClean="0"/>
              <a:pPr/>
              <a:t>99</a:t>
            </a:fld>
            <a:endParaRPr lang="en-US"/>
          </a:p>
        </p:txBody>
      </p:sp>
    </p:spTree>
    <p:extLst>
      <p:ext uri="{BB962C8B-B14F-4D97-AF65-F5344CB8AC3E}">
        <p14:creationId xmlns:p14="http://schemas.microsoft.com/office/powerpoint/2010/main" val="3835068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05FC04-006C-4370-AA2A-61F90C8564E7}" type="slidenum">
              <a:rPr kumimoji="0" lang="en-US" sz="1000" b="0" i="0" u="none" strike="noStrike" kern="1200" cap="none" spc="0" normalizeH="0" baseline="0" noProof="0" smtClean="0">
                <a:ln>
                  <a:noFill/>
                </a:ln>
                <a:solidFill>
                  <a:srgbClr val="203864"/>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en-US" sz="1000" b="0" i="0" u="none" strike="noStrike" kern="1200" cap="none" spc="0" normalizeH="0" baseline="0" noProof="0">
              <a:ln>
                <a:noFill/>
              </a:ln>
              <a:solidFill>
                <a:srgbClr val="203864"/>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dirty="0"/>
          </a:p>
        </p:txBody>
      </p:sp>
    </p:spTree>
    <p:extLst>
      <p:ext uri="{BB962C8B-B14F-4D97-AF65-F5344CB8AC3E}">
        <p14:creationId xmlns:p14="http://schemas.microsoft.com/office/powerpoint/2010/main" val="18265808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dirty="0"/>
              <a:t>Click to edit </a:t>
            </a:r>
            <a:br>
              <a:rPr lang="en-US" dirty="0"/>
            </a:br>
            <a:r>
              <a:rPr lang="en-US" dirty="0"/>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rotWithShape="1">
          <a:blip r:embed="rId2"/>
          <a:srcRect l="10663" t="1445" r="10663"/>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a:cxnSpLocks/>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a:cxnSpLocks/>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1" name="Straight Connector 10">
            <a:extLst>
              <a:ext uri="{FF2B5EF4-FFF2-40B4-BE49-F238E27FC236}">
                <a16:creationId xmlns:a16="http://schemas.microsoft.com/office/drawing/2014/main" id="{A210BB95-7967-7648-835C-D3C45FEF1074}"/>
              </a:ext>
            </a:extLst>
          </p:cNvPr>
          <p:cNvCxnSpPr>
            <a:cxnSpLocks/>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cxnSpLocks/>
            <a:stCxn id="7" idx="0"/>
          </p:cNvCxnSpPr>
          <p:nvPr userDrawn="1"/>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dirty="0"/>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dirty="0"/>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pPr/>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pPr/>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a:cxnSpLocks/>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cxnSpLocks/>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hyperlink" Target="https://www.choosehelp.com/topics/bullying/workplace-bullying" TargetMode="External"/><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3" Type="http://schemas.openxmlformats.org/officeDocument/2006/relationships/hyperlink" Target="https://www.publicdomainpictures.net/en/view-image.php?image=177017&amp;picture=-" TargetMode="External"/><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hyperlink" Target="https://navigator.rpminc.com/reportable-events-and-hotline-policies/hotline-and-non-retaliation-policy/" TargetMode="Externa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hyperlink" Target="https://pixabay.com/en/confidential-secret-private-font-264516/" TargetMode="External"/><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30.jpg"/><Relationship Id="rId2" Type="http://schemas.openxmlformats.org/officeDocument/2006/relationships/diagramData" Target="../diagrams/data11.xml"/><Relationship Id="rId1" Type="http://schemas.openxmlformats.org/officeDocument/2006/relationships/slideLayout" Target="../slideLayouts/slideLayout4.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hyperlink" Target="https://www.thebluediamondgallery.com/wooden-tile/l/liability.html" TargetMode="External"/><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3" Type="http://schemas.openxmlformats.org/officeDocument/2006/relationships/hyperlink" Target="http://www.rpminc.com/hotline" TargetMode="External"/><Relationship Id="rId2" Type="http://schemas.openxmlformats.org/officeDocument/2006/relationships/hyperlink" Target="mailto:compliance@rpminc.com" TargetMode="External"/><Relationship Id="rId1" Type="http://schemas.openxmlformats.org/officeDocument/2006/relationships/slideLayout" Target="../slideLayouts/slideLayout4.xml"/><Relationship Id="rId5" Type="http://schemas.openxmlformats.org/officeDocument/2006/relationships/image" Target="../media/image41.jpg"/><Relationship Id="rId4" Type="http://schemas.openxmlformats.org/officeDocument/2006/relationships/hyperlink" Target="https://iwf.tnwgrc.com/rpminternational" TargetMode="External"/></Relationships>
</file>

<file path=ppt/slides/_rels/slide1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6.png"/><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navigator.rpminc.com/legal-compliance-policies/non-harassment-policy/"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www.dfeh.ca.gov/"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www.ct.gov/chro"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s://labor.delaware.gov/divisions/industrial-affairs/discrimination/file-a-charge/"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pixabay.com/en/pencil-marks-notes-agenda-list-308509/"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jp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hyperlink" Target="https://ohr.dc.gov/service/file-discrimination-complaint"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ohr.dc.gov/service/file-discrimination-complaint" TargetMode="External"/><Relationship Id="rId2" Type="http://schemas.openxmlformats.org/officeDocument/2006/relationships/hyperlink" Target="https://www.chicago.gov/content/dam/city/depts/cchr/AdjSupportingInfo/basic-steps-for-filing-/BasicStepsforFiling_ProForm.pdf"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hyperlink" Target="http://www.maine.gov/mhrc"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https://www.peoplemattersglobal.com/blog/life-at-work/the-power-of-purpose-driven-talent-25196" TargetMode="External"/><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doit.state.md.us/selectsurvey/TakeSurvey.aspx?PageNumber=1&amp;SurveyID=7423578&amp;Preview=true" TargetMode="External"/><Relationship Id="rId2" Type="http://schemas.openxmlformats.org/officeDocument/2006/relationships/hyperlink" Target="https://mccr.maryland.gov/Pages/default.aspx" TargetMode="Externa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hyperlink" Target="https://dhr.ny.gov/" TargetMode="External"/><Relationship Id="rId2" Type="http://schemas.openxmlformats.org/officeDocument/2006/relationships/hyperlink" Target="http://www1.nyc.gov/site/cchr/index.page" TargetMode="External"/><Relationship Id="rId1" Type="http://schemas.openxmlformats.org/officeDocument/2006/relationships/slideLayout" Target="../slideLayouts/slideLayout2.xml"/><Relationship Id="rId4" Type="http://schemas.openxmlformats.org/officeDocument/2006/relationships/hyperlink" Target="https://content.willinteractive.com/public/pdfs/common-ground/ny-supplemental-information.pdf" TargetMode="Externa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hyperlink" Target="https://www.oregon.gov/boli/workers/Pages/employment-discrimination-questionnaire.aspx" TargetMode="Externa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www.atg.wa.gov/have-civil-rights-complaint" TargetMode="External"/><Relationship Id="rId2" Type="http://schemas.openxmlformats.org/officeDocument/2006/relationships/hyperlink" Target="https://www.hum.wa.gov/file-complaint" TargetMode="Externa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hyperlink" Target="https://www.eeoc.gov/" TargetMode="Externa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hyperlink" Target="https://calaborlawnews.com/lawsuit/california-harassment-labor-law.php" TargetMode="External"/><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hyperlink" Target="https://pixabay.com/en/gym-weight-lifting-training-297059/" TargetMode="Externa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8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microsoft.com/office/2007/relationships/hdphoto" Target="../media/hdphoto3.wdp"/></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www.peoplematters.in/article/employee-relations/legal-hr-prevention-of-sexual-harassment-at-workplace-17346"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rotWithShape="1">
          <a:blip r:embed="rId3"/>
          <a:srcRect l="10663" t="1445" r="10663"/>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a:cxnSpLocks/>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a:cxnSpLocks/>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00107" y="5446529"/>
            <a:ext cx="6657284" cy="1077159"/>
          </a:xfrm>
        </p:spPr>
        <p:txBody>
          <a:bodyPr>
            <a:noAutofit/>
          </a:bodyPr>
          <a:lstStyle/>
          <a:p>
            <a:pPr algn="l">
              <a:lnSpc>
                <a:spcPct val="100000"/>
              </a:lnSpc>
              <a:spcBef>
                <a:spcPts val="0"/>
              </a:spcBef>
            </a:pPr>
            <a:r>
              <a:rPr lang="en-US" sz="2800" dirty="0">
                <a:solidFill>
                  <a:schemeClr val="bg1"/>
                </a:solidFill>
              </a:rPr>
              <a:t>2023 RPM Sexual Harassment and Abusive Conduct Prevention Training</a:t>
            </a: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23220"/>
          </a:xfrm>
          <a:prstGeom prst="rect">
            <a:avLst/>
          </a:prstGeom>
          <a:noFill/>
        </p:spPr>
        <p:txBody>
          <a:bodyPr wrap="square" rtlCol="0">
            <a:spAutoFit/>
          </a:bodyPr>
          <a:lstStyle/>
          <a:p>
            <a:r>
              <a:rPr lang="en-US" sz="2800" b="1" dirty="0">
                <a:solidFill>
                  <a:schemeClr val="bg1"/>
                </a:solidFill>
                <a:effectLst>
                  <a:outerShdw blurRad="50800" dist="38100" dir="2700000" algn="tl" rotWithShape="0">
                    <a:prstClr val="black">
                      <a:alpha val="40000"/>
                    </a:prstClr>
                  </a:outerShdw>
                </a:effectLst>
              </a:rPr>
              <a:t>THE VALUE OF 168</a:t>
            </a:r>
          </a:p>
        </p:txBody>
      </p:sp>
      <p:cxnSp>
        <p:nvCxnSpPr>
          <p:cNvPr id="10" name="Straight Connector 9">
            <a:extLst>
              <a:ext uri="{FF2B5EF4-FFF2-40B4-BE49-F238E27FC236}">
                <a16:creationId xmlns:a16="http://schemas.microsoft.com/office/drawing/2014/main" id="{D81D68DD-7A28-DF47-ABBD-D69140B4E63D}"/>
              </a:ext>
            </a:extLst>
          </p:cNvPr>
          <p:cNvCxnSpPr>
            <a:cxnSpLocks/>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cxnSpLocks/>
            <a:stCxn id="15" idx="0"/>
          </p:cNvCxnSpPr>
          <p:nvPr/>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C0136-1CD9-3D8E-13EF-3552BA21D742}"/>
              </a:ext>
            </a:extLst>
          </p:cNvPr>
          <p:cNvSpPr>
            <a:spLocks noGrp="1"/>
          </p:cNvSpPr>
          <p:nvPr>
            <p:ph type="title"/>
          </p:nvPr>
        </p:nvSpPr>
        <p:spPr>
          <a:xfrm>
            <a:off x="822959" y="230505"/>
            <a:ext cx="7358907" cy="787032"/>
          </a:xfrm>
        </p:spPr>
        <p:txBody>
          <a:bodyPr/>
          <a:lstStyle/>
          <a:p>
            <a:r>
              <a:rPr lang="en-US" sz="2400" dirty="0"/>
              <a:t>1. Join in the fun. Throw a zinger of your own </a:t>
            </a:r>
            <a:br>
              <a:rPr lang="en-US" sz="2400" dirty="0"/>
            </a:br>
            <a:endParaRPr lang="en-US" sz="2400" dirty="0"/>
          </a:p>
        </p:txBody>
      </p:sp>
      <p:sp>
        <p:nvSpPr>
          <p:cNvPr id="3" name="Content Placeholder 2">
            <a:extLst>
              <a:ext uri="{FF2B5EF4-FFF2-40B4-BE49-F238E27FC236}">
                <a16:creationId xmlns:a16="http://schemas.microsoft.com/office/drawing/2014/main" id="{2C79AA37-5BA2-E25E-70BC-42957258EBB5}"/>
              </a:ext>
            </a:extLst>
          </p:cNvPr>
          <p:cNvSpPr>
            <a:spLocks noGrp="1"/>
          </p:cNvSpPr>
          <p:nvPr>
            <p:ph idx="1"/>
          </p:nvPr>
        </p:nvSpPr>
        <p:spPr>
          <a:xfrm>
            <a:off x="464995" y="1898841"/>
            <a:ext cx="8074836" cy="4842074"/>
          </a:xfrm>
        </p:spPr>
        <p:txBody>
          <a:bodyPr>
            <a:normAutofit/>
          </a:bodyPr>
          <a:lstStyle/>
          <a:p>
            <a:r>
              <a:rPr lang="en-US" sz="2400" dirty="0"/>
              <a:t>You say, “it’s a toss up between Nate and Bob.”</a:t>
            </a:r>
          </a:p>
          <a:p>
            <a:r>
              <a:rPr lang="en-US" sz="2400" dirty="0"/>
              <a:t>Your new boss, Sandy, responds, “You’re here to do your job, not lower the sophistication of the discussion, let’s get back to work.” </a:t>
            </a:r>
          </a:p>
          <a:p>
            <a:r>
              <a:rPr lang="en-US" sz="2400" dirty="0"/>
              <a:t>While the other comments didn’t get that same reaction from Sandy, your comment seemed to tip the scales. </a:t>
            </a:r>
          </a:p>
          <a:p>
            <a:r>
              <a:rPr lang="en-US" sz="2400" dirty="0"/>
              <a:t>Rather than try to say something to stop the unprofessional talk or simply stay quiet, you tried to fit in socially by keeping the crude conversation going. </a:t>
            </a:r>
          </a:p>
          <a:p>
            <a:r>
              <a:rPr lang="en-US" sz="2400" dirty="0"/>
              <a:t>Let’s go back and make a better choice. </a:t>
            </a:r>
          </a:p>
        </p:txBody>
      </p:sp>
      <p:sp>
        <p:nvSpPr>
          <p:cNvPr id="5" name="Slide Number Placeholder 4">
            <a:extLst>
              <a:ext uri="{FF2B5EF4-FFF2-40B4-BE49-F238E27FC236}">
                <a16:creationId xmlns:a16="http://schemas.microsoft.com/office/drawing/2014/main" id="{CDD74EC3-491D-4AF0-B7ED-594A827C9076}"/>
              </a:ext>
            </a:extLst>
          </p:cNvPr>
          <p:cNvSpPr>
            <a:spLocks noGrp="1"/>
          </p:cNvSpPr>
          <p:nvPr>
            <p:ph type="sldNum" sz="quarter" idx="4"/>
          </p:nvPr>
        </p:nvSpPr>
        <p:spPr/>
        <p:txBody>
          <a:bodyPr/>
          <a:lstStyle/>
          <a:p>
            <a:fld id="{BB5FC4A1-A2DE-4EB5-9A46-57D39B4235EC}" type="slidenum">
              <a:rPr lang="en-US" smtClean="0"/>
              <a:pPr/>
              <a:t>10</a:t>
            </a:fld>
            <a:endParaRPr lang="en-US"/>
          </a:p>
        </p:txBody>
      </p:sp>
    </p:spTree>
    <p:extLst>
      <p:ext uri="{BB962C8B-B14F-4D97-AF65-F5344CB8AC3E}">
        <p14:creationId xmlns:p14="http://schemas.microsoft.com/office/powerpoint/2010/main" val="3305612674"/>
      </p:ext>
    </p:extLst>
  </p:cSld>
  <p:clrMapOvr>
    <a:masterClrMapping/>
  </p:clrMapOvr>
  <p:transition spd="med">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4" y="299647"/>
            <a:ext cx="7358907" cy="787032"/>
          </a:xfrm>
        </p:spPr>
        <p:txBody>
          <a:bodyPr/>
          <a:lstStyle/>
          <a:p>
            <a:r>
              <a:rPr lang="en-US" sz="2800" dirty="0"/>
              <a:t>Quid Pro Quo</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p:txBody>
          <a:bodyPr>
            <a:normAutofit/>
          </a:bodyPr>
          <a:lstStyle/>
          <a:p>
            <a:r>
              <a:rPr lang="en-US" sz="2400" dirty="0"/>
              <a:t>Advances, offers, or demands must be:</a:t>
            </a:r>
          </a:p>
          <a:p>
            <a:pPr lvl="1"/>
            <a:r>
              <a:rPr lang="en-US" sz="2200" dirty="0"/>
              <a:t>Of a sexual nature, and</a:t>
            </a:r>
          </a:p>
          <a:p>
            <a:pPr lvl="1"/>
            <a:r>
              <a:rPr lang="en-US" sz="2200" dirty="0"/>
              <a:t>The employee submitting or rejecting the conduct is used as the basis for an employment-related decision</a:t>
            </a:r>
          </a:p>
          <a:p>
            <a:r>
              <a:rPr lang="en-US" sz="2400" dirty="0"/>
              <a:t>Even the threat of reprisal after a negative response is considered Quid Pro Quo.</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Graphic 5" descr="Transfer outline">
            <a:extLst>
              <a:ext uri="{FF2B5EF4-FFF2-40B4-BE49-F238E27FC236}">
                <a16:creationId xmlns:a16="http://schemas.microsoft.com/office/drawing/2014/main" id="{90F8E6A6-30EB-365D-1431-43458458E5E9}"/>
              </a:ext>
            </a:extLst>
          </p:cNvPr>
          <p:cNvPicPr>
            <a:picLocks noChangeAspect="1"/>
          </p:cNvPicPr>
          <p:nvPr/>
        </p:nvPicPr>
        <p:blipFill>
          <a:blip r:embed="rId2">
            <a:duotone>
              <a:schemeClr val="accent2">
                <a:shade val="45000"/>
                <a:satMod val="135000"/>
              </a:schemeClr>
              <a:prstClr val="white"/>
            </a:duotone>
            <a:extLst>
              <a:ext uri="{96DAC541-7B7A-43D3-8B79-37D633B846F1}">
                <asvg:svgBlip xmlns:asvg="http://schemas.microsoft.com/office/drawing/2016/SVG/main" r:embed="rId3"/>
              </a:ext>
            </a:extLst>
          </a:blip>
          <a:stretch>
            <a:fillRect/>
          </a:stretch>
        </p:blipFill>
        <p:spPr>
          <a:xfrm>
            <a:off x="2638397" y="3310300"/>
            <a:ext cx="3724303" cy="3724303"/>
          </a:xfrm>
          <a:prstGeom prst="rect">
            <a:avLst/>
          </a:prstGeom>
        </p:spPr>
      </p:pic>
    </p:spTree>
    <p:extLst>
      <p:ext uri="{BB962C8B-B14F-4D97-AF65-F5344CB8AC3E}">
        <p14:creationId xmlns:p14="http://schemas.microsoft.com/office/powerpoint/2010/main" val="1879323484"/>
      </p:ext>
    </p:extLst>
  </p:cSld>
  <p:clrMapOvr>
    <a:masterClrMapping/>
  </p:clrMapOvr>
  <p:transition spd="med">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9F2C-98A9-03B3-3B8B-468EAE0D586B}"/>
              </a:ext>
            </a:extLst>
          </p:cNvPr>
          <p:cNvSpPr>
            <a:spLocks noGrp="1"/>
          </p:cNvSpPr>
          <p:nvPr>
            <p:ph type="title"/>
          </p:nvPr>
        </p:nvSpPr>
        <p:spPr>
          <a:xfrm>
            <a:off x="892546" y="113650"/>
            <a:ext cx="7358907" cy="787032"/>
          </a:xfrm>
        </p:spPr>
        <p:txBody>
          <a:bodyPr/>
          <a:lstStyle/>
          <a:p>
            <a:r>
              <a:rPr lang="en-US" sz="2800"/>
              <a:t>Abusive Conduct (Workplace Bullying) </a:t>
            </a:r>
            <a:endParaRPr lang="en-US" sz="2800" dirty="0"/>
          </a:p>
        </p:txBody>
      </p:sp>
      <p:sp>
        <p:nvSpPr>
          <p:cNvPr id="3" name="Content Placeholder 2">
            <a:extLst>
              <a:ext uri="{FF2B5EF4-FFF2-40B4-BE49-F238E27FC236}">
                <a16:creationId xmlns:a16="http://schemas.microsoft.com/office/drawing/2014/main" id="{52A81DBC-972E-15E5-E1B8-5D8C2FF0A0CD}"/>
              </a:ext>
            </a:extLst>
          </p:cNvPr>
          <p:cNvSpPr>
            <a:spLocks noGrp="1"/>
          </p:cNvSpPr>
          <p:nvPr>
            <p:ph idx="1"/>
          </p:nvPr>
        </p:nvSpPr>
        <p:spPr>
          <a:xfrm>
            <a:off x="534581" y="1716279"/>
            <a:ext cx="8074836" cy="4842074"/>
          </a:xfrm>
        </p:spPr>
        <p:txBody>
          <a:bodyPr>
            <a:normAutofit/>
          </a:bodyPr>
          <a:lstStyle/>
          <a:p>
            <a:r>
              <a:rPr lang="en-US" sz="2400" dirty="0"/>
              <a:t>Malicious behavior by employer or employee that a reasonable person would find hostile, offensive, threatening, intimidating, or humiliating</a:t>
            </a:r>
          </a:p>
          <a:p>
            <a:r>
              <a:rPr lang="en-US" sz="2400" dirty="0"/>
              <a:t>Unrelated to legitimate business interest</a:t>
            </a:r>
          </a:p>
          <a:p>
            <a:r>
              <a:rPr lang="en-US" sz="2400" dirty="0"/>
              <a:t>Verbal abuse or sabotaging or undermining a person's work performance</a:t>
            </a:r>
          </a:p>
          <a:p>
            <a:r>
              <a:rPr lang="en-US" sz="2400" dirty="0"/>
              <a:t>May be non-verbal</a:t>
            </a:r>
          </a:p>
          <a:p>
            <a:r>
              <a:rPr lang="en-US" sz="2400" dirty="0"/>
              <a:t>Single act is not abusive conduct unless severe or egregious</a:t>
            </a:r>
          </a:p>
          <a:p>
            <a:r>
              <a:rPr lang="en-US" sz="2400" dirty="0"/>
              <a:t>NOT harassment based on protected category, such as sex, race, ethnicity, age, religion, or disability</a:t>
            </a:r>
          </a:p>
        </p:txBody>
      </p:sp>
      <p:sp>
        <p:nvSpPr>
          <p:cNvPr id="5" name="Slide Number Placeholder 4">
            <a:extLst>
              <a:ext uri="{FF2B5EF4-FFF2-40B4-BE49-F238E27FC236}">
                <a16:creationId xmlns:a16="http://schemas.microsoft.com/office/drawing/2014/main" id="{468842F1-B059-AA0F-8E4C-99A6D4D5D997}"/>
              </a:ext>
            </a:extLst>
          </p:cNvPr>
          <p:cNvSpPr>
            <a:spLocks noGrp="1"/>
          </p:cNvSpPr>
          <p:nvPr>
            <p:ph type="sldNum" sz="quarter" idx="4"/>
          </p:nvPr>
        </p:nvSpPr>
        <p:spPr/>
        <p:txBody>
          <a:bodyPr/>
          <a:lstStyle/>
          <a:p>
            <a:fld id="{BB5FC4A1-A2DE-4EB5-9A46-57D39B4235EC}" type="slidenum">
              <a:rPr lang="en-US" smtClean="0"/>
              <a:pPr/>
              <a:t>101</a:t>
            </a:fld>
            <a:endParaRPr lang="en-US"/>
          </a:p>
        </p:txBody>
      </p:sp>
    </p:spTree>
    <p:extLst>
      <p:ext uri="{BB962C8B-B14F-4D97-AF65-F5344CB8AC3E}">
        <p14:creationId xmlns:p14="http://schemas.microsoft.com/office/powerpoint/2010/main" val="3391145226"/>
      </p:ext>
    </p:extLst>
  </p:cSld>
  <p:clrMapOvr>
    <a:masterClrMapping/>
  </p:clrMapOvr>
  <p:transition spd="med">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9F2C-98A9-03B3-3B8B-468EAE0D586B}"/>
              </a:ext>
            </a:extLst>
          </p:cNvPr>
          <p:cNvSpPr>
            <a:spLocks noGrp="1"/>
          </p:cNvSpPr>
          <p:nvPr>
            <p:ph type="title"/>
          </p:nvPr>
        </p:nvSpPr>
        <p:spPr>
          <a:xfrm>
            <a:off x="892546" y="113650"/>
            <a:ext cx="7358907" cy="787032"/>
          </a:xfrm>
        </p:spPr>
        <p:txBody>
          <a:bodyPr/>
          <a:lstStyle/>
          <a:p>
            <a:r>
              <a:rPr lang="en-US" sz="2400" dirty="0"/>
              <a:t>May not be illegal, but should not be tolerated: </a:t>
            </a:r>
          </a:p>
        </p:txBody>
      </p:sp>
      <p:sp>
        <p:nvSpPr>
          <p:cNvPr id="3" name="Content Placeholder 2">
            <a:extLst>
              <a:ext uri="{FF2B5EF4-FFF2-40B4-BE49-F238E27FC236}">
                <a16:creationId xmlns:a16="http://schemas.microsoft.com/office/drawing/2014/main" id="{52A81DBC-972E-15E5-E1B8-5D8C2FF0A0CD}"/>
              </a:ext>
            </a:extLst>
          </p:cNvPr>
          <p:cNvSpPr>
            <a:spLocks noGrp="1"/>
          </p:cNvSpPr>
          <p:nvPr>
            <p:ph idx="1"/>
          </p:nvPr>
        </p:nvSpPr>
        <p:spPr/>
        <p:txBody>
          <a:bodyPr/>
          <a:lstStyle/>
          <a:p>
            <a:r>
              <a:rPr lang="en-US" dirty="0"/>
              <a:t>Toxic, unproductive, and can result in mental distress</a:t>
            </a:r>
          </a:p>
          <a:p>
            <a:r>
              <a:rPr lang="en-US" dirty="0"/>
              <a:t>Perpetrator could be supervisor, peer, or subordinate</a:t>
            </a:r>
          </a:p>
          <a:p>
            <a:r>
              <a:rPr lang="en-US" dirty="0"/>
              <a:t>Perpetrators and victims often the same gender</a:t>
            </a:r>
          </a:p>
          <a:p>
            <a:r>
              <a:rPr lang="en-US" dirty="0"/>
              <a:t>Report abusive conduct to supervisor or HR</a:t>
            </a:r>
          </a:p>
        </p:txBody>
      </p:sp>
      <p:sp>
        <p:nvSpPr>
          <p:cNvPr id="5" name="Slide Number Placeholder 4">
            <a:extLst>
              <a:ext uri="{FF2B5EF4-FFF2-40B4-BE49-F238E27FC236}">
                <a16:creationId xmlns:a16="http://schemas.microsoft.com/office/drawing/2014/main" id="{468842F1-B059-AA0F-8E4C-99A6D4D5D99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person yelling at a person">
            <a:extLst>
              <a:ext uri="{FF2B5EF4-FFF2-40B4-BE49-F238E27FC236}">
                <a16:creationId xmlns:a16="http://schemas.microsoft.com/office/drawing/2014/main" id="{E24D4FC1-61CC-FBB9-3A79-9DFCB300ADF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2193422" y="3138501"/>
            <a:ext cx="4757153" cy="3212333"/>
          </a:xfrm>
          <a:prstGeom prst="rect">
            <a:avLst/>
          </a:prstGeom>
        </p:spPr>
      </p:pic>
    </p:spTree>
    <p:extLst>
      <p:ext uri="{BB962C8B-B14F-4D97-AF65-F5344CB8AC3E}">
        <p14:creationId xmlns:p14="http://schemas.microsoft.com/office/powerpoint/2010/main" val="938899446"/>
      </p:ext>
    </p:extLst>
  </p:cSld>
  <p:clrMapOvr>
    <a:masterClrMapping/>
  </p:clrMapOvr>
  <p:transition spd="med">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9F2C-98A9-03B3-3B8B-468EAE0D586B}"/>
              </a:ext>
            </a:extLst>
          </p:cNvPr>
          <p:cNvSpPr>
            <a:spLocks noGrp="1"/>
          </p:cNvSpPr>
          <p:nvPr>
            <p:ph type="title"/>
          </p:nvPr>
        </p:nvSpPr>
        <p:spPr>
          <a:xfrm>
            <a:off x="790526" y="303539"/>
            <a:ext cx="7358907" cy="787032"/>
          </a:xfrm>
        </p:spPr>
        <p:txBody>
          <a:bodyPr/>
          <a:lstStyle/>
          <a:p>
            <a:r>
              <a:rPr lang="en-US" sz="2400" dirty="0"/>
              <a:t>Case Study: An office admirer who </a:t>
            </a:r>
            <a:br>
              <a:rPr lang="en-US" sz="2400" dirty="0"/>
            </a:br>
            <a:r>
              <a:rPr lang="en-US" sz="2400" dirty="0"/>
              <a:t>won’t take a hint. </a:t>
            </a:r>
            <a:br>
              <a:rPr lang="en-US" sz="2400" dirty="0"/>
            </a:br>
            <a:endParaRPr lang="en-US" sz="2400" dirty="0"/>
          </a:p>
        </p:txBody>
      </p:sp>
      <p:sp>
        <p:nvSpPr>
          <p:cNvPr id="3" name="Content Placeholder 2">
            <a:extLst>
              <a:ext uri="{FF2B5EF4-FFF2-40B4-BE49-F238E27FC236}">
                <a16:creationId xmlns:a16="http://schemas.microsoft.com/office/drawing/2014/main" id="{52A81DBC-972E-15E5-E1B8-5D8C2FF0A0CD}"/>
              </a:ext>
            </a:extLst>
          </p:cNvPr>
          <p:cNvSpPr>
            <a:spLocks noGrp="1"/>
          </p:cNvSpPr>
          <p:nvPr>
            <p:ph idx="1"/>
          </p:nvPr>
        </p:nvSpPr>
        <p:spPr/>
        <p:txBody>
          <a:bodyPr>
            <a:noAutofit/>
          </a:bodyPr>
          <a:lstStyle/>
          <a:p>
            <a:r>
              <a:rPr lang="en-US" sz="2400" dirty="0"/>
              <a:t>One of the engineers, Barney, on your rollercoaster building team is giving you special attention. He is emailing you to invite you to events and happy hours outside of working hours. </a:t>
            </a:r>
          </a:p>
          <a:p>
            <a:r>
              <a:rPr lang="en-US" sz="2400" dirty="0"/>
              <a:t>You have declined all of the invitations, but he keeps inviting you. </a:t>
            </a:r>
          </a:p>
          <a:p>
            <a:r>
              <a:rPr lang="en-US" sz="2400" dirty="0"/>
              <a:t>The last straw was an invitation to a Mardi Gras-themed party with a special note that said, “I’ve got beads for you, I hope to see more of you outside the office.” The invitation included a picture of a scantily clad woman. </a:t>
            </a:r>
          </a:p>
          <a:p>
            <a:r>
              <a:rPr lang="en-US" sz="2400" dirty="0"/>
              <a:t>How do you want to deal with Barney? </a:t>
            </a:r>
          </a:p>
          <a:p>
            <a:pPr>
              <a:buFont typeface="Wingdings" panose="05000000000000000000" pitchFamily="2" charset="2"/>
              <a:buChar char="q"/>
            </a:pPr>
            <a:r>
              <a:rPr lang="en-US" sz="2400" dirty="0"/>
              <a:t>Let him down easy with an email reply. </a:t>
            </a:r>
          </a:p>
          <a:p>
            <a:pPr>
              <a:buFont typeface="Wingdings" panose="05000000000000000000" pitchFamily="2" charset="2"/>
              <a:buChar char="q"/>
            </a:pPr>
            <a:r>
              <a:rPr lang="en-US" sz="2400" dirty="0"/>
              <a:t>Report his behavior to your HR rep. </a:t>
            </a:r>
          </a:p>
        </p:txBody>
      </p:sp>
      <p:sp>
        <p:nvSpPr>
          <p:cNvPr id="5" name="Slide Number Placeholder 4">
            <a:extLst>
              <a:ext uri="{FF2B5EF4-FFF2-40B4-BE49-F238E27FC236}">
                <a16:creationId xmlns:a16="http://schemas.microsoft.com/office/drawing/2014/main" id="{468842F1-B059-AA0F-8E4C-99A6D4D5D99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2830031"/>
      </p:ext>
    </p:extLst>
  </p:cSld>
  <p:clrMapOvr>
    <a:masterClrMapping/>
  </p:clrMapOvr>
  <p:transition spd="med">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9F2C-98A9-03B3-3B8B-468EAE0D586B}"/>
              </a:ext>
            </a:extLst>
          </p:cNvPr>
          <p:cNvSpPr>
            <a:spLocks noGrp="1"/>
          </p:cNvSpPr>
          <p:nvPr>
            <p:ph type="title"/>
          </p:nvPr>
        </p:nvSpPr>
        <p:spPr>
          <a:xfrm>
            <a:off x="892546" y="420080"/>
            <a:ext cx="7358907" cy="787032"/>
          </a:xfrm>
        </p:spPr>
        <p:txBody>
          <a:bodyPr/>
          <a:lstStyle/>
          <a:p>
            <a:r>
              <a:rPr lang="en-US" sz="2800" dirty="0"/>
              <a:t>Option 1: Let Him Down Easy </a:t>
            </a:r>
            <a:br>
              <a:rPr lang="en-US" sz="2800" dirty="0"/>
            </a:br>
            <a:endParaRPr lang="en-US" sz="2800" dirty="0"/>
          </a:p>
        </p:txBody>
      </p:sp>
      <p:sp>
        <p:nvSpPr>
          <p:cNvPr id="3" name="Content Placeholder 2">
            <a:extLst>
              <a:ext uri="{FF2B5EF4-FFF2-40B4-BE49-F238E27FC236}">
                <a16:creationId xmlns:a16="http://schemas.microsoft.com/office/drawing/2014/main" id="{52A81DBC-972E-15E5-E1B8-5D8C2FF0A0CD}"/>
              </a:ext>
            </a:extLst>
          </p:cNvPr>
          <p:cNvSpPr>
            <a:spLocks noGrp="1"/>
          </p:cNvSpPr>
          <p:nvPr>
            <p:ph idx="1"/>
          </p:nvPr>
        </p:nvSpPr>
        <p:spPr>
          <a:xfrm>
            <a:off x="432562" y="1595846"/>
            <a:ext cx="8074836" cy="4842074"/>
          </a:xfrm>
        </p:spPr>
        <p:txBody>
          <a:bodyPr>
            <a:normAutofit/>
          </a:bodyPr>
          <a:lstStyle/>
          <a:p>
            <a:r>
              <a:rPr lang="en-US" sz="2400" dirty="0"/>
              <a:t>You email Barney to say, “Please stop forwarding me invitations to social events and please also refrain from sending me any texts outside of work hours. I would like for things to remain professional between us. We are colleagues and nothing more.” </a:t>
            </a:r>
          </a:p>
          <a:p>
            <a:r>
              <a:rPr lang="en-US" sz="2400" dirty="0"/>
              <a:t>After that, the emails slow but don’t stop. </a:t>
            </a:r>
          </a:p>
        </p:txBody>
      </p:sp>
      <p:sp>
        <p:nvSpPr>
          <p:cNvPr id="5" name="Slide Number Placeholder 4">
            <a:extLst>
              <a:ext uri="{FF2B5EF4-FFF2-40B4-BE49-F238E27FC236}">
                <a16:creationId xmlns:a16="http://schemas.microsoft.com/office/drawing/2014/main" id="{468842F1-B059-AA0F-8E4C-99A6D4D5D99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7173267"/>
      </p:ext>
    </p:extLst>
  </p:cSld>
  <p:clrMapOvr>
    <a:masterClrMapping/>
  </p:clrMapOvr>
  <p:transition spd="med">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9F2C-98A9-03B3-3B8B-468EAE0D586B}"/>
              </a:ext>
            </a:extLst>
          </p:cNvPr>
          <p:cNvSpPr>
            <a:spLocks noGrp="1"/>
          </p:cNvSpPr>
          <p:nvPr>
            <p:ph type="title"/>
          </p:nvPr>
        </p:nvSpPr>
        <p:spPr>
          <a:xfrm>
            <a:off x="892546" y="420080"/>
            <a:ext cx="7358907" cy="787032"/>
          </a:xfrm>
        </p:spPr>
        <p:txBody>
          <a:bodyPr/>
          <a:lstStyle/>
          <a:p>
            <a:r>
              <a:rPr lang="en-US" sz="2800" dirty="0"/>
              <a:t>Option 1: Let Him Down Easy </a:t>
            </a:r>
            <a:br>
              <a:rPr lang="en-US" sz="2800" dirty="0"/>
            </a:br>
            <a:endParaRPr lang="en-US" sz="2800" dirty="0"/>
          </a:p>
        </p:txBody>
      </p:sp>
      <p:sp>
        <p:nvSpPr>
          <p:cNvPr id="3" name="Content Placeholder 2">
            <a:extLst>
              <a:ext uri="{FF2B5EF4-FFF2-40B4-BE49-F238E27FC236}">
                <a16:creationId xmlns:a16="http://schemas.microsoft.com/office/drawing/2014/main" id="{52A81DBC-972E-15E5-E1B8-5D8C2FF0A0CD}"/>
              </a:ext>
            </a:extLst>
          </p:cNvPr>
          <p:cNvSpPr>
            <a:spLocks noGrp="1"/>
          </p:cNvSpPr>
          <p:nvPr>
            <p:ph idx="1"/>
          </p:nvPr>
        </p:nvSpPr>
        <p:spPr>
          <a:xfrm>
            <a:off x="534581" y="1716279"/>
            <a:ext cx="8074836" cy="4842074"/>
          </a:xfrm>
        </p:spPr>
        <p:txBody>
          <a:bodyPr>
            <a:normAutofit/>
          </a:bodyPr>
          <a:lstStyle/>
          <a:p>
            <a:r>
              <a:rPr lang="en-US" sz="2400" dirty="0"/>
              <a:t>Then, Barney confronts you in the break room. He claims that you were sending him clear signals and he doesn’t understand how you could shoot him down like that. </a:t>
            </a:r>
          </a:p>
          <a:p>
            <a:r>
              <a:rPr lang="en-US" sz="2400" dirty="0"/>
              <a:t>Barney blocks your exit from the break room and begins yelling at you. </a:t>
            </a:r>
          </a:p>
          <a:p>
            <a:r>
              <a:rPr lang="en-US" sz="2400" dirty="0"/>
              <a:t>You report Barney to HR.</a:t>
            </a:r>
          </a:p>
          <a:p>
            <a:r>
              <a:rPr lang="en-US" sz="2400" dirty="0"/>
              <a:t>HR investigates and finds the allegations substantiated; and, in fact,  Barney had been previously disciplined for similar, past conduct. Because of that, his employment is terminated. </a:t>
            </a:r>
          </a:p>
        </p:txBody>
      </p:sp>
      <p:sp>
        <p:nvSpPr>
          <p:cNvPr id="5" name="Slide Number Placeholder 4">
            <a:extLst>
              <a:ext uri="{FF2B5EF4-FFF2-40B4-BE49-F238E27FC236}">
                <a16:creationId xmlns:a16="http://schemas.microsoft.com/office/drawing/2014/main" id="{468842F1-B059-AA0F-8E4C-99A6D4D5D99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356170"/>
      </p:ext>
    </p:extLst>
  </p:cSld>
  <p:clrMapOvr>
    <a:masterClrMapping/>
  </p:clrMapOvr>
  <p:transition spd="med">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9F2C-98A9-03B3-3B8B-468EAE0D586B}"/>
              </a:ext>
            </a:extLst>
          </p:cNvPr>
          <p:cNvSpPr>
            <a:spLocks noGrp="1"/>
          </p:cNvSpPr>
          <p:nvPr>
            <p:ph type="title"/>
          </p:nvPr>
        </p:nvSpPr>
        <p:spPr>
          <a:xfrm>
            <a:off x="892546" y="420080"/>
            <a:ext cx="7358907" cy="787032"/>
          </a:xfrm>
        </p:spPr>
        <p:txBody>
          <a:bodyPr/>
          <a:lstStyle/>
          <a:p>
            <a:r>
              <a:rPr lang="en-US" sz="3200" dirty="0"/>
              <a:t>Option 2: Tell HR  </a:t>
            </a:r>
            <a:br>
              <a:rPr lang="en-US" sz="3200" dirty="0"/>
            </a:br>
            <a:endParaRPr lang="en-US" sz="2800" dirty="0"/>
          </a:p>
        </p:txBody>
      </p:sp>
      <p:sp>
        <p:nvSpPr>
          <p:cNvPr id="3" name="Content Placeholder 2">
            <a:extLst>
              <a:ext uri="{FF2B5EF4-FFF2-40B4-BE49-F238E27FC236}">
                <a16:creationId xmlns:a16="http://schemas.microsoft.com/office/drawing/2014/main" id="{52A81DBC-972E-15E5-E1B8-5D8C2FF0A0CD}"/>
              </a:ext>
            </a:extLst>
          </p:cNvPr>
          <p:cNvSpPr>
            <a:spLocks noGrp="1"/>
          </p:cNvSpPr>
          <p:nvPr>
            <p:ph idx="1"/>
          </p:nvPr>
        </p:nvSpPr>
        <p:spPr>
          <a:xfrm>
            <a:off x="441527" y="1716279"/>
            <a:ext cx="8074836" cy="4842074"/>
          </a:xfrm>
        </p:spPr>
        <p:txBody>
          <a:bodyPr>
            <a:normAutofit/>
          </a:bodyPr>
          <a:lstStyle/>
          <a:p>
            <a:r>
              <a:rPr lang="en-US" sz="2400" dirty="0"/>
              <a:t>You tell HR that Barney has been asking you out and “chatting” you up. </a:t>
            </a:r>
          </a:p>
          <a:p>
            <a:r>
              <a:rPr lang="en-US" sz="2400" dirty="0"/>
              <a:t>You explain that you’ve told him no, but he won’t stop. </a:t>
            </a:r>
          </a:p>
          <a:p>
            <a:r>
              <a:rPr lang="en-US" sz="2400" dirty="0"/>
              <a:t>You show HR the Mardi Gras invitation. </a:t>
            </a:r>
          </a:p>
          <a:p>
            <a:r>
              <a:rPr lang="en-US" sz="2400" dirty="0"/>
              <a:t>HR begins an investigation. </a:t>
            </a:r>
          </a:p>
          <a:p>
            <a:r>
              <a:rPr lang="en-US" sz="2400" dirty="0"/>
              <a:t>HR investigates and found the allegations substantiated and in fact Barney had been previously disciplined for similar, past conduct. Because of that, his employment was terminated. </a:t>
            </a:r>
          </a:p>
          <a:p>
            <a:pPr marL="0" indent="0">
              <a:buNone/>
            </a:pPr>
            <a:endParaRPr lang="en-US" sz="2400" dirty="0"/>
          </a:p>
        </p:txBody>
      </p:sp>
      <p:sp>
        <p:nvSpPr>
          <p:cNvPr id="5" name="Slide Number Placeholder 4">
            <a:extLst>
              <a:ext uri="{FF2B5EF4-FFF2-40B4-BE49-F238E27FC236}">
                <a16:creationId xmlns:a16="http://schemas.microsoft.com/office/drawing/2014/main" id="{468842F1-B059-AA0F-8E4C-99A6D4D5D99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003977"/>
      </p:ext>
    </p:extLst>
  </p:cSld>
  <p:clrMapOvr>
    <a:masterClrMapping/>
  </p:clrMapOvr>
  <p:transition spd="med">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Other Types of Misconduct</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p:txBody>
          <a:bodyPr>
            <a:noAutofit/>
          </a:bodyPr>
          <a:lstStyle/>
          <a:p>
            <a:r>
              <a:rPr lang="en-US" sz="2400" dirty="0"/>
              <a:t>If you don't confront a harasser or report his or her sexual harassment, you may enable the perpetuation of their behaviors. In this situation, it was clearly appropriate for you to approach human resources or a manager with whom you felt comfortable to voice your concerns.</a:t>
            </a:r>
          </a:p>
          <a:p>
            <a:endParaRPr lang="en-US" sz="2400" dirty="0"/>
          </a:p>
          <a:p>
            <a:r>
              <a:rPr lang="en-US" sz="2400" dirty="0"/>
              <a:t>Not every enticement or proposition is wrong and considered harassment. Miscommunication of romantic intentions is common and can be handled peer-to-peer, but some situations rise to the level of needing assistance. </a:t>
            </a:r>
          </a:p>
          <a:p>
            <a:endParaRPr lang="en-US" sz="2400" dirty="0"/>
          </a:p>
          <a:p>
            <a:r>
              <a:rPr lang="en-US" sz="2400" dirty="0"/>
              <a:t>Human Resources professionals are there to help. They can prevent a difficult situation from escalating to something worse.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fld id="{BB5FC4A1-A2DE-4EB5-9A46-57D39B4235EC}" type="slidenum">
              <a:rPr lang="en-US" smtClean="0"/>
              <a:pPr/>
              <a:t>107</a:t>
            </a:fld>
            <a:endParaRPr lang="en-US"/>
          </a:p>
        </p:txBody>
      </p:sp>
    </p:spTree>
    <p:extLst>
      <p:ext uri="{BB962C8B-B14F-4D97-AF65-F5344CB8AC3E}">
        <p14:creationId xmlns:p14="http://schemas.microsoft.com/office/powerpoint/2010/main" val="723987"/>
      </p:ext>
    </p:extLst>
  </p:cSld>
  <p:clrMapOvr>
    <a:masterClrMapping/>
  </p:clrMapOvr>
  <p:transition spd="med">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2800" dirty="0"/>
              <a:t>So what are everyone’s responsibilities in these situations?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p:txBody>
          <a:bodyPr>
            <a:noAutofit/>
          </a:bodyPr>
          <a:lstStyle/>
          <a:p>
            <a:r>
              <a:rPr lang="en-US" sz="2400" dirty="0"/>
              <a:t>Employers have an obligation to take reasonable steps to prevent misconduct:</a:t>
            </a:r>
          </a:p>
          <a:p>
            <a:pPr lvl="1"/>
            <a:r>
              <a:rPr lang="en-US" sz="2100" dirty="0"/>
              <a:t>Well-communicated policy that prohibits harassment</a:t>
            </a:r>
          </a:p>
          <a:p>
            <a:pPr lvl="1"/>
            <a:r>
              <a:rPr lang="en-US" sz="2100" dirty="0"/>
              <a:t>Training employees and supervisors</a:t>
            </a:r>
          </a:p>
          <a:p>
            <a:pPr lvl="1"/>
            <a:r>
              <a:rPr lang="en-US" sz="2100" dirty="0"/>
              <a:t>Thoroughly investigating complaints</a:t>
            </a:r>
          </a:p>
          <a:p>
            <a:r>
              <a:rPr lang="en-US" sz="2400" dirty="0"/>
              <a:t>What are employee responsibilities? </a:t>
            </a:r>
          </a:p>
          <a:p>
            <a:pPr lvl="1"/>
            <a:r>
              <a:rPr lang="en-US" sz="2100" dirty="0"/>
              <a:t>Act like a professional. </a:t>
            </a:r>
          </a:p>
          <a:p>
            <a:pPr lvl="1"/>
            <a:r>
              <a:rPr lang="en-US" sz="2100" dirty="0"/>
              <a:t>If you feel harassed or the victim of abusive conduct: say no. </a:t>
            </a:r>
          </a:p>
          <a:p>
            <a:pPr lvl="1"/>
            <a:r>
              <a:rPr lang="en-US" sz="2100" dirty="0"/>
              <a:t>Next, show no. Indicate through your body language that the conduct is unacceptable.</a:t>
            </a:r>
          </a:p>
          <a:p>
            <a:pPr lvl="1"/>
            <a:r>
              <a:rPr lang="en-US" sz="2100" dirty="0"/>
              <a:t>Report to a supervisor, management, HR</a:t>
            </a:r>
          </a:p>
          <a:p>
            <a:pPr lvl="1"/>
            <a:r>
              <a:rPr lang="en-US" sz="2100" dirty="0"/>
              <a:t>Know that confidentiality may not be possible.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2809868"/>
      </p:ext>
    </p:extLst>
  </p:cSld>
  <p:clrMapOvr>
    <a:masterClrMapping/>
  </p:clrMapOvr>
  <p:transition spd="med">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Quiz </a:t>
            </a:r>
            <a:br>
              <a:rPr lang="en-US" sz="1500" dirty="0"/>
            </a:br>
            <a:endParaRPr lang="en-US" dirty="0"/>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00453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A4A6F-A36A-012A-BAC7-4B2457321899}"/>
              </a:ext>
            </a:extLst>
          </p:cNvPr>
          <p:cNvSpPr>
            <a:spLocks noGrp="1"/>
          </p:cNvSpPr>
          <p:nvPr>
            <p:ph type="title"/>
          </p:nvPr>
        </p:nvSpPr>
        <p:spPr>
          <a:xfrm>
            <a:off x="809576" y="299647"/>
            <a:ext cx="7358907" cy="787032"/>
          </a:xfrm>
        </p:spPr>
        <p:txBody>
          <a:bodyPr/>
          <a:lstStyle/>
          <a:p>
            <a:r>
              <a:rPr lang="en-US" sz="2400" dirty="0"/>
              <a:t>2. Redirect the conversation back to design ideas. </a:t>
            </a:r>
            <a:br>
              <a:rPr lang="en-US" sz="2400" dirty="0"/>
            </a:br>
            <a:endParaRPr lang="en-US" sz="2400" dirty="0"/>
          </a:p>
        </p:txBody>
      </p:sp>
      <p:sp>
        <p:nvSpPr>
          <p:cNvPr id="3" name="Content Placeholder 2">
            <a:extLst>
              <a:ext uri="{FF2B5EF4-FFF2-40B4-BE49-F238E27FC236}">
                <a16:creationId xmlns:a16="http://schemas.microsoft.com/office/drawing/2014/main" id="{85C80BD0-D8BE-6B18-190D-E0620234E3C3}"/>
              </a:ext>
            </a:extLst>
          </p:cNvPr>
          <p:cNvSpPr>
            <a:spLocks noGrp="1"/>
          </p:cNvSpPr>
          <p:nvPr>
            <p:ph idx="1"/>
          </p:nvPr>
        </p:nvSpPr>
        <p:spPr>
          <a:xfrm>
            <a:off x="534582" y="1716279"/>
            <a:ext cx="8074836" cy="4842074"/>
          </a:xfrm>
        </p:spPr>
        <p:txBody>
          <a:bodyPr/>
          <a:lstStyle/>
          <a:p>
            <a:r>
              <a:rPr lang="en-US" sz="2400" dirty="0"/>
              <a:t>You say, “ I don’t have anything to say about that, but I’d like to know more about how to manufacture the water feature using the existing plumbing on site.” </a:t>
            </a:r>
          </a:p>
          <a:p>
            <a:r>
              <a:rPr lang="en-US" sz="2400" dirty="0"/>
              <a:t>You could have drawn attention to the inappropriateness of the conversation, especially since another of your coworkers looks visibly uncomfortable, but you’re on a new team, and you’d like to fit in. </a:t>
            </a:r>
          </a:p>
          <a:p>
            <a:r>
              <a:rPr lang="en-US" sz="2400" dirty="0"/>
              <a:t>Maybe you could have called out the inappropriate behavior. </a:t>
            </a:r>
          </a:p>
          <a:p>
            <a:r>
              <a:rPr lang="en-US" sz="2400" dirty="0"/>
              <a:t>It’s good that you didn’t add to the unprofessional comments, and you acted appropriately, but perhaps another choice might have given a better result particularly given how you felt. </a:t>
            </a:r>
          </a:p>
          <a:p>
            <a:pPr marL="0" indent="0">
              <a:buNone/>
            </a:pPr>
            <a:endParaRPr lang="en-US" sz="2400" dirty="0"/>
          </a:p>
        </p:txBody>
      </p:sp>
      <p:sp>
        <p:nvSpPr>
          <p:cNvPr id="5" name="Slide Number Placeholder 4">
            <a:extLst>
              <a:ext uri="{FF2B5EF4-FFF2-40B4-BE49-F238E27FC236}">
                <a16:creationId xmlns:a16="http://schemas.microsoft.com/office/drawing/2014/main" id="{C5F90DA7-7ADB-1364-666D-06E275F46EFA}"/>
              </a:ext>
            </a:extLst>
          </p:cNvPr>
          <p:cNvSpPr>
            <a:spLocks noGrp="1"/>
          </p:cNvSpPr>
          <p:nvPr>
            <p:ph type="sldNum" sz="quarter" idx="4"/>
          </p:nvPr>
        </p:nvSpPr>
        <p:spPr/>
        <p:txBody>
          <a:bodyPr/>
          <a:lstStyle/>
          <a:p>
            <a:fld id="{BB5FC4A1-A2DE-4EB5-9A46-57D39B4235EC}" type="slidenum">
              <a:rPr lang="en-US" smtClean="0"/>
              <a:pPr/>
              <a:t>11</a:t>
            </a:fld>
            <a:endParaRPr lang="en-US"/>
          </a:p>
        </p:txBody>
      </p:sp>
    </p:spTree>
    <p:extLst>
      <p:ext uri="{BB962C8B-B14F-4D97-AF65-F5344CB8AC3E}">
        <p14:creationId xmlns:p14="http://schemas.microsoft.com/office/powerpoint/2010/main" val="1066022803"/>
      </p:ext>
    </p:extLst>
  </p:cSld>
  <p:clrMapOvr>
    <a:masterClrMapping/>
  </p:clrMapOvr>
  <p:transition spd="med">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Question #1</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p:txBody>
          <a:bodyPr>
            <a:normAutofit/>
          </a:bodyPr>
          <a:lstStyle/>
          <a:p>
            <a:pPr marL="0" indent="0">
              <a:buNone/>
            </a:pPr>
            <a:r>
              <a:rPr lang="en-US" sz="2400" dirty="0"/>
              <a:t>A male employee stares at a female employee too much for her comfort. He never says an unprofessional comment, flirts, or asks her out. His stares, often at her body, seem clearly inappropriate to her. When she asks him to stop staring at her chest one day, he apologizes profusely, but the next day continues to stare. She reports this to her supervisor. In his defense, he admits to being "distracted" by her but says she is extremely attractive and wears unusually provocative clothing.</a:t>
            </a:r>
          </a:p>
          <a:p>
            <a:endParaRPr lang="en-US" sz="2400" dirty="0"/>
          </a:p>
          <a:p>
            <a:pPr marL="0" indent="0">
              <a:buNone/>
            </a:pPr>
            <a:r>
              <a:rPr lang="en-US" sz="2400" dirty="0"/>
              <a:t>Is this sexual harassment?</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672150"/>
      </p:ext>
    </p:extLst>
  </p:cSld>
  <p:clrMapOvr>
    <a:masterClrMapping/>
  </p:clrMapOvr>
  <p:transition spd="med">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Answer #1</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2213610"/>
            <a:ext cx="8074836" cy="4842074"/>
          </a:xfrm>
        </p:spPr>
        <p:txBody>
          <a:bodyPr>
            <a:normAutofit/>
          </a:bodyPr>
          <a:lstStyle/>
          <a:p>
            <a:pPr marL="0" indent="0">
              <a:buNone/>
            </a:pPr>
            <a:r>
              <a:rPr lang="en-US" sz="2400" dirty="0"/>
              <a:t> 	Yes., according to the reasonable person standard, his conduct seems inappropriate, embarrassing for her, and perhaps intimidating. His explanation, to blame the victim for inviting the conduct with provocative dress, doesn't hold water. After all, she works with others in the office who are not constantly staring.</a:t>
            </a:r>
          </a:p>
          <a:p>
            <a:pPr marL="0" indent="0">
              <a:buNone/>
            </a:pPr>
            <a:endParaRPr lang="en-US" sz="2400" dirty="0"/>
          </a:p>
          <a:p>
            <a:pPr marL="0" indent="0">
              <a:buNone/>
            </a:pPr>
            <a:r>
              <a:rPr lang="en-US" sz="2400" dirty="0"/>
              <a:t>Not every look at a coworker is sexual harassment, but routinely staring at her chest is creating a hostile work environment.</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5D3165E0-8FA6-22AF-32F4-F0344DCFAABF}"/>
              </a:ext>
            </a:extLst>
          </p:cNvPr>
          <p:cNvPicPr>
            <a:picLocks noChangeAspect="1"/>
          </p:cNvPicPr>
          <p:nvPr/>
        </p:nvPicPr>
        <p:blipFill>
          <a:blip r:embed="rId2"/>
          <a:stretch>
            <a:fillRect/>
          </a:stretch>
        </p:blipFill>
        <p:spPr>
          <a:xfrm>
            <a:off x="341389" y="1634440"/>
            <a:ext cx="1164437" cy="1158340"/>
          </a:xfrm>
          <a:prstGeom prst="rect">
            <a:avLst/>
          </a:prstGeom>
        </p:spPr>
      </p:pic>
    </p:spTree>
    <p:extLst>
      <p:ext uri="{BB962C8B-B14F-4D97-AF65-F5344CB8AC3E}">
        <p14:creationId xmlns:p14="http://schemas.microsoft.com/office/powerpoint/2010/main" val="3872904919"/>
      </p:ext>
    </p:extLst>
  </p:cSld>
  <p:clrMapOvr>
    <a:masterClrMapping/>
  </p:clrMapOvr>
  <p:transition spd="med">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Question #2</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p:txBody>
          <a:bodyPr>
            <a:noAutofit/>
          </a:bodyPr>
          <a:lstStyle/>
          <a:p>
            <a:pPr marL="0" indent="0">
              <a:buNone/>
            </a:pPr>
            <a:r>
              <a:rPr lang="en-US" sz="2400" dirty="0"/>
              <a:t>A female alleges sexual harassment against her male supervisor. In order to minimize the potential for further allegations, and to protect both the employee and supervisor during the investigation process, management re-assigns her to an overnight shift. Because of the overnight work, her life is disrupted for a week, and she is forced to pay double the childcare expenses for her young children. The investigation reveals no evidence of sexual harassment, and she is placed back on the day shift. She files a new allegation, but this time against the company.</a:t>
            </a:r>
          </a:p>
          <a:p>
            <a:pPr marL="0" indent="0">
              <a:buNone/>
            </a:pPr>
            <a:endParaRPr lang="en-US" sz="2400" dirty="0"/>
          </a:p>
          <a:p>
            <a:pPr marL="0" indent="0">
              <a:buNone/>
            </a:pPr>
            <a:r>
              <a:rPr lang="en-US" sz="2400" dirty="0"/>
              <a:t>Does she have a case?</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3516077"/>
      </p:ext>
    </p:extLst>
  </p:cSld>
  <p:clrMapOvr>
    <a:masterClrMapping/>
  </p:clrMapOvr>
  <p:transition spd="med">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Answer #2</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534582" y="1898841"/>
            <a:ext cx="8074836" cy="4842074"/>
          </a:xfrm>
        </p:spPr>
        <p:txBody>
          <a:bodyPr>
            <a:normAutofit/>
          </a:bodyPr>
          <a:lstStyle/>
          <a:p>
            <a:pPr marL="0" indent="0">
              <a:buNone/>
            </a:pPr>
            <a:r>
              <a:rPr lang="en-US" sz="2400" dirty="0"/>
              <a:t>	Yes., the laws against retaliating against a person reporting harassment are in play here. She was penalized and experienced economic damage as a result of simply making an allegation. In this case, the employer is liable for retaliation against her, even if unintended.</a:t>
            </a:r>
          </a:p>
          <a:p>
            <a:pPr marL="0" indent="0">
              <a:buNone/>
            </a:pPr>
            <a:endParaRPr lang="en-US" sz="2400" dirty="0"/>
          </a:p>
          <a:p>
            <a:pPr marL="0" indent="0">
              <a:buNone/>
            </a:pPr>
            <a:r>
              <a:rPr lang="en-US" sz="2400" dirty="0"/>
              <a:t>The fact that her case ended up without a determination of sexual harassment doesn't matter. For example, the employer may have deterred others from reporting harassment or even being a witness in her original case.</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B3766E41-DDC0-FD40-1644-2ACE74CDACA5}"/>
              </a:ext>
            </a:extLst>
          </p:cNvPr>
          <p:cNvPicPr>
            <a:picLocks noChangeAspect="1"/>
          </p:cNvPicPr>
          <p:nvPr/>
        </p:nvPicPr>
        <p:blipFill>
          <a:blip r:embed="rId2"/>
          <a:stretch>
            <a:fillRect/>
          </a:stretch>
        </p:blipFill>
        <p:spPr>
          <a:xfrm>
            <a:off x="433045" y="1319671"/>
            <a:ext cx="1164437" cy="1158340"/>
          </a:xfrm>
          <a:prstGeom prst="rect">
            <a:avLst/>
          </a:prstGeom>
        </p:spPr>
      </p:pic>
    </p:spTree>
    <p:extLst>
      <p:ext uri="{BB962C8B-B14F-4D97-AF65-F5344CB8AC3E}">
        <p14:creationId xmlns:p14="http://schemas.microsoft.com/office/powerpoint/2010/main" val="893397587"/>
      </p:ext>
    </p:extLst>
  </p:cSld>
  <p:clrMapOvr>
    <a:masterClrMapping/>
  </p:clrMapOvr>
  <p:transition spd="med">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Question #3</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716279"/>
            <a:ext cx="8074836" cy="4842074"/>
          </a:xfrm>
        </p:spPr>
        <p:txBody>
          <a:bodyPr>
            <a:normAutofit/>
          </a:bodyPr>
          <a:lstStyle/>
          <a:p>
            <a:pPr marL="0" indent="0">
              <a:buNone/>
            </a:pPr>
            <a:r>
              <a:rPr lang="en-US" sz="2400" dirty="0"/>
              <a:t>Several female employees from an office are friends on Facebook. One night, at home, one of the females posts a ranking of the “Best Men’s Butts At My Office” knowing that she’s only friends on Facebook with female employees who won’t be offended. When a friend of a friend of a friend sees it, he feels humiliated because he was ranked last. He reports this as sexual harassment.</a:t>
            </a:r>
          </a:p>
          <a:p>
            <a:pPr>
              <a:buFont typeface="Wingdings" panose="05000000000000000000" pitchFamily="2" charset="2"/>
              <a:buChar char="q"/>
            </a:pPr>
            <a:endParaRPr lang="en-US" sz="2400" dirty="0"/>
          </a:p>
          <a:p>
            <a:pPr marL="0" indent="0">
              <a:buNone/>
            </a:pPr>
            <a:r>
              <a:rPr lang="en-US" sz="2400" dirty="0"/>
              <a:t>Is this sexual harassment?</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9211673"/>
      </p:ext>
    </p:extLst>
  </p:cSld>
  <p:clrMapOvr>
    <a:masterClrMapping/>
  </p:clrMapOvr>
  <p:transition spd="med">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Answer #3</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p:txBody>
          <a:bodyPr/>
          <a:lstStyle/>
          <a:p>
            <a:pPr marL="0" indent="0">
              <a:buNone/>
            </a:pPr>
            <a:r>
              <a:rPr lang="en-US" dirty="0"/>
              <a:t>	Probably, this is sexual harassment.</a:t>
            </a:r>
          </a:p>
          <a:p>
            <a:pPr marL="0" indent="0">
              <a:buNone/>
            </a:pPr>
            <a:endParaRPr lang="en-US" dirty="0"/>
          </a:p>
          <a:p>
            <a:pPr marL="0" indent="0">
              <a:buNone/>
            </a:pPr>
            <a:r>
              <a:rPr lang="en-US" dirty="0"/>
              <a:t>The person who originated the post is having an electronic "conversation" containing sexual content with people she works with about people she works with. There is an employment relationship between the harasser and the victim.</a:t>
            </a:r>
          </a:p>
          <a:p>
            <a:pPr marL="0" indent="0">
              <a:buNone/>
            </a:pPr>
            <a:endParaRPr lang="en-US" dirty="0"/>
          </a:p>
          <a:p>
            <a:pPr marL="0" indent="0">
              <a:buNone/>
            </a:pPr>
            <a:r>
              <a:rPr lang="en-US" dirty="0"/>
              <a:t>The conversation was "overheard." The harassment was after hours, but public to the extent that it has a correlation to the working environment experienced by the victim from the next day forward. </a:t>
            </a:r>
          </a:p>
          <a:p>
            <a:pPr marL="0" indent="0">
              <a:buNone/>
            </a:pPr>
            <a:endParaRPr lang="en-US" dirty="0"/>
          </a:p>
          <a:p>
            <a:pPr marL="0" indent="0">
              <a:buNone/>
            </a:pPr>
            <a:r>
              <a:rPr lang="en-US" dirty="0"/>
              <a:t>The victim was objectified, sexualized, and humiliated publicly by a coworker.</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EF1097A2-0EE2-A1BF-343C-BB6603952694}"/>
              </a:ext>
            </a:extLst>
          </p:cNvPr>
          <p:cNvPicPr>
            <a:picLocks noChangeAspect="1"/>
          </p:cNvPicPr>
          <p:nvPr/>
        </p:nvPicPr>
        <p:blipFill>
          <a:blip r:embed="rId2"/>
          <a:stretch>
            <a:fillRect/>
          </a:stretch>
        </p:blipFill>
        <p:spPr>
          <a:xfrm>
            <a:off x="240741" y="969912"/>
            <a:ext cx="1164437" cy="1158340"/>
          </a:xfrm>
          <a:prstGeom prst="rect">
            <a:avLst/>
          </a:prstGeom>
        </p:spPr>
      </p:pic>
    </p:spTree>
    <p:extLst>
      <p:ext uri="{BB962C8B-B14F-4D97-AF65-F5344CB8AC3E}">
        <p14:creationId xmlns:p14="http://schemas.microsoft.com/office/powerpoint/2010/main" val="3646856821"/>
      </p:ext>
    </p:extLst>
  </p:cSld>
  <p:clrMapOvr>
    <a:masterClrMapping/>
  </p:clrMapOvr>
  <p:transition spd="med">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Question #4</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p:txBody>
          <a:bodyPr>
            <a:normAutofit fontScale="85000" lnSpcReduction="20000"/>
          </a:bodyPr>
          <a:lstStyle/>
          <a:p>
            <a:pPr marL="0" indent="0">
              <a:buNone/>
            </a:pPr>
            <a:r>
              <a:rPr lang="en-US" dirty="0"/>
              <a:t>Company management has supported David’s gender transition over several months by providing appropriate information and guidance to all employees. He wears clothing consistent with his identity as a man and prefers the use of masculine pronouns. Nevertheless, David is experiencing some challenges in relation to his coworkers.</a:t>
            </a:r>
          </a:p>
          <a:p>
            <a:pPr marL="0" indent="0">
              <a:buNone/>
            </a:pPr>
            <a:endParaRPr lang="en-US" dirty="0"/>
          </a:p>
          <a:p>
            <a:pPr marL="0" indent="0">
              <a:buNone/>
            </a:pPr>
            <a:r>
              <a:rPr lang="en-US" dirty="0"/>
              <a:t>Some coworkers inadvertently refer to David as “Debbie” and say “she” occasionally. They generally try to correct themselves and apologize. However, three of David’s coworkers repeatedly call David “Debbie” and use “her.” They are not being forgetful. The offending employees simply don’t accept the change and don’t feel they should be “forced to call her a him.”</a:t>
            </a:r>
          </a:p>
          <a:p>
            <a:pPr marL="0" indent="0">
              <a:buNone/>
            </a:pPr>
            <a:endParaRPr lang="en-US" dirty="0"/>
          </a:p>
          <a:p>
            <a:pPr marL="0" indent="0">
              <a:buNone/>
            </a:pPr>
            <a:r>
              <a:rPr lang="en-US" dirty="0"/>
              <a:t>David tells those three coworkers he considers their comments to be harassment. But, they repeat their behavior and David reports this as sexual harassment. HR receives this report with respect, investigates it thoroughly, and takes action to correct the behavior of the harassing employees.</a:t>
            </a:r>
          </a:p>
          <a:p>
            <a:pPr marL="0" indent="0">
              <a:buNone/>
            </a:pPr>
            <a:endParaRPr lang="en-US" dirty="0"/>
          </a:p>
          <a:p>
            <a:pPr marL="0" indent="0">
              <a:buNone/>
            </a:pPr>
            <a:r>
              <a:rPr lang="en-US" dirty="0"/>
              <a:t>Is this sexual harassment?</a:t>
            </a:r>
          </a:p>
          <a:p>
            <a:pPr>
              <a:buFont typeface="Wingdings" panose="05000000000000000000" pitchFamily="2" charset="2"/>
              <a:buChar char="q"/>
            </a:pPr>
            <a:r>
              <a:rPr lang="en-US" dirty="0"/>
              <a:t>Yes </a:t>
            </a:r>
          </a:p>
          <a:p>
            <a:pPr>
              <a:buFont typeface="Wingdings" panose="05000000000000000000" pitchFamily="2" charset="2"/>
              <a:buChar char="q"/>
            </a:pPr>
            <a:r>
              <a:rPr lang="en-US"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2439704"/>
      </p:ext>
    </p:extLst>
  </p:cSld>
  <p:clrMapOvr>
    <a:masterClrMapping/>
  </p:clrMapOvr>
  <p:transition spd="med">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Answer #4</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2015926"/>
            <a:ext cx="8074836" cy="4842074"/>
          </a:xfrm>
        </p:spPr>
        <p:txBody>
          <a:bodyPr/>
          <a:lstStyle/>
          <a:p>
            <a:pPr marL="0" indent="0">
              <a:buNone/>
            </a:pPr>
            <a:r>
              <a:rPr lang="en-US" dirty="0"/>
              <a:t>	This is sexual harassment. This is harassment based on the victim’s sex and creates a hostile work environment.</a:t>
            </a:r>
          </a:p>
          <a:p>
            <a:pPr marL="0" indent="0">
              <a:buNone/>
            </a:pPr>
            <a:endParaRPr lang="en-US" dirty="0"/>
          </a:p>
          <a:p>
            <a:pPr marL="0" indent="0">
              <a:buNone/>
            </a:pPr>
            <a:r>
              <a:rPr lang="en-US" dirty="0"/>
              <a:t>David is now legally a man and is recognized by both society and his employer as such. The offending employees have called a man a woman over and over again until the comments have become pervasive and reflect a hostile intent.</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9E94C320-9C6F-1F51-9FE9-39C212E9C48F}"/>
              </a:ext>
            </a:extLst>
          </p:cNvPr>
          <p:cNvPicPr>
            <a:picLocks noChangeAspect="1"/>
          </p:cNvPicPr>
          <p:nvPr/>
        </p:nvPicPr>
        <p:blipFill>
          <a:blip r:embed="rId2"/>
          <a:stretch>
            <a:fillRect/>
          </a:stretch>
        </p:blipFill>
        <p:spPr>
          <a:xfrm>
            <a:off x="406330" y="1436756"/>
            <a:ext cx="1164437" cy="1158340"/>
          </a:xfrm>
          <a:prstGeom prst="rect">
            <a:avLst/>
          </a:prstGeom>
        </p:spPr>
      </p:pic>
    </p:spTree>
    <p:extLst>
      <p:ext uri="{BB962C8B-B14F-4D97-AF65-F5344CB8AC3E}">
        <p14:creationId xmlns:p14="http://schemas.microsoft.com/office/powerpoint/2010/main" val="1814967876"/>
      </p:ext>
    </p:extLst>
  </p:cSld>
  <p:clrMapOvr>
    <a:masterClrMapping/>
  </p:clrMapOvr>
  <p:transition spd="med">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Question #5</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833046"/>
            <a:ext cx="8074836" cy="4842074"/>
          </a:xfrm>
        </p:spPr>
        <p:txBody>
          <a:bodyPr>
            <a:normAutofit/>
          </a:bodyPr>
          <a:lstStyle/>
          <a:p>
            <a:pPr marL="0" indent="0">
              <a:buNone/>
            </a:pPr>
            <a:r>
              <a:rPr lang="en-US" sz="2400" dirty="0"/>
              <a:t>Who is liable for harassment?</a:t>
            </a:r>
          </a:p>
          <a:p>
            <a:pPr>
              <a:buFont typeface="Wingdings" panose="05000000000000000000" pitchFamily="2" charset="2"/>
              <a:buChar char="q"/>
            </a:pPr>
            <a:r>
              <a:rPr lang="en-US" sz="2400" dirty="0"/>
              <a:t>His coworkers who inadvertently misspeak </a:t>
            </a:r>
          </a:p>
          <a:p>
            <a:pPr>
              <a:buFont typeface="Wingdings" panose="05000000000000000000" pitchFamily="2" charset="2"/>
              <a:buChar char="q"/>
            </a:pPr>
            <a:r>
              <a:rPr lang="en-US" sz="2400" dirty="0"/>
              <a:t>His employer </a:t>
            </a:r>
          </a:p>
          <a:p>
            <a:pPr>
              <a:buFont typeface="Wingdings" panose="05000000000000000000" pitchFamily="2" charset="2"/>
              <a:buChar char="q"/>
            </a:pPr>
            <a:r>
              <a:rPr lang="en-US" sz="2400" dirty="0"/>
              <a:t>Three coworkers who intentionally use David’s old gender and name. </a:t>
            </a:r>
          </a:p>
          <a:p>
            <a:pPr>
              <a:buFont typeface="Wingdings" panose="05000000000000000000" pitchFamily="2" charset="2"/>
              <a:buChar char="q"/>
            </a:pPr>
            <a:r>
              <a:rPr lang="en-US" sz="2400" dirty="0"/>
              <a:t>All of the above. </a:t>
            </a:r>
          </a:p>
          <a:p>
            <a:pPr marL="0" indent="0">
              <a:buNone/>
            </a:pPr>
            <a:endParaRPr lang="en-US" sz="2400" dirty="0"/>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133249"/>
      </p:ext>
    </p:extLst>
  </p:cSld>
  <p:clrMapOvr>
    <a:masterClrMapping/>
  </p:clrMapOvr>
  <p:transition spd="med">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Answer #5</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2015926"/>
            <a:ext cx="8074836" cy="4842074"/>
          </a:xfrm>
        </p:spPr>
        <p:txBody>
          <a:bodyPr/>
          <a:lstStyle/>
          <a:p>
            <a:pPr marL="0" indent="0">
              <a:buNone/>
            </a:pPr>
            <a:r>
              <a:rPr lang="en-US" dirty="0"/>
              <a:t>	The three coworkers who intentionally harass David repeatedly are liable. In states such as California, New York, and many other states that view gender identity and gender expression as a protected class, their behavior is clearly harassment.</a:t>
            </a:r>
          </a:p>
          <a:p>
            <a:pPr marL="0" indent="0">
              <a:buNone/>
            </a:pPr>
            <a:endParaRPr lang="en-US" dirty="0"/>
          </a:p>
          <a:p>
            <a:pPr marL="0" indent="0">
              <a:buNone/>
            </a:pPr>
            <a:r>
              <a:rPr lang="en-US" dirty="0"/>
              <a:t>Occasional, accidental mistakes of coworkers do not create a situation of discrimination or harassment.</a:t>
            </a:r>
          </a:p>
          <a:p>
            <a:pPr marL="0" indent="0">
              <a:buNone/>
            </a:pPr>
            <a:endParaRPr lang="en-US" dirty="0"/>
          </a:p>
          <a:p>
            <a:pPr marL="0" indent="0">
              <a:buNone/>
            </a:pPr>
            <a:r>
              <a:rPr lang="en-US" dirty="0"/>
              <a:t>The employer seemed to make a good-faith effort to address problems by thoroughly investigating David’s concerns. The employer does not appear to be liable given the facts presented.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AAFBFA4-8FB0-4EA2-5C4D-8BD80808C31E}"/>
              </a:ext>
            </a:extLst>
          </p:cNvPr>
          <p:cNvPicPr>
            <a:picLocks noChangeAspect="1"/>
          </p:cNvPicPr>
          <p:nvPr/>
        </p:nvPicPr>
        <p:blipFill>
          <a:blip r:embed="rId2"/>
          <a:stretch>
            <a:fillRect/>
          </a:stretch>
        </p:blipFill>
        <p:spPr>
          <a:xfrm>
            <a:off x="341389" y="1240733"/>
            <a:ext cx="1164437" cy="1158340"/>
          </a:xfrm>
          <a:prstGeom prst="rect">
            <a:avLst/>
          </a:prstGeom>
        </p:spPr>
      </p:pic>
    </p:spTree>
    <p:extLst>
      <p:ext uri="{BB962C8B-B14F-4D97-AF65-F5344CB8AC3E}">
        <p14:creationId xmlns:p14="http://schemas.microsoft.com/office/powerpoint/2010/main" val="1584838408"/>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A4A6F-A36A-012A-BAC7-4B2457321899}"/>
              </a:ext>
            </a:extLst>
          </p:cNvPr>
          <p:cNvSpPr>
            <a:spLocks noGrp="1"/>
          </p:cNvSpPr>
          <p:nvPr>
            <p:ph type="title"/>
          </p:nvPr>
        </p:nvSpPr>
        <p:spPr>
          <a:xfrm>
            <a:off x="790526" y="230505"/>
            <a:ext cx="7358907" cy="787032"/>
          </a:xfrm>
        </p:spPr>
        <p:txBody>
          <a:bodyPr/>
          <a:lstStyle/>
          <a:p>
            <a:r>
              <a:rPr lang="en-US" sz="2400" dirty="0"/>
              <a:t>3.  Redirect the conversation, but also draw attention to what’s being said.</a:t>
            </a:r>
            <a:br>
              <a:rPr lang="en-US" sz="2400" dirty="0"/>
            </a:br>
            <a:endParaRPr lang="en-US" sz="2400" dirty="0"/>
          </a:p>
        </p:txBody>
      </p:sp>
      <p:sp>
        <p:nvSpPr>
          <p:cNvPr id="3" name="Content Placeholder 2">
            <a:extLst>
              <a:ext uri="{FF2B5EF4-FFF2-40B4-BE49-F238E27FC236}">
                <a16:creationId xmlns:a16="http://schemas.microsoft.com/office/drawing/2014/main" id="{85C80BD0-D8BE-6B18-190D-E0620234E3C3}"/>
              </a:ext>
            </a:extLst>
          </p:cNvPr>
          <p:cNvSpPr>
            <a:spLocks noGrp="1"/>
          </p:cNvSpPr>
          <p:nvPr>
            <p:ph idx="1"/>
          </p:nvPr>
        </p:nvSpPr>
        <p:spPr>
          <a:xfrm>
            <a:off x="432562" y="1898841"/>
            <a:ext cx="8074836" cy="4842074"/>
          </a:xfrm>
        </p:spPr>
        <p:txBody>
          <a:bodyPr/>
          <a:lstStyle/>
          <a:p>
            <a:r>
              <a:rPr lang="en-US" sz="2400" dirty="0"/>
              <a:t>You say, “breast jokes? I know this is my first meeting with this team, but this seems inappropriate.” </a:t>
            </a:r>
          </a:p>
          <a:p>
            <a:r>
              <a:rPr lang="en-US" sz="2400" dirty="0"/>
              <a:t>Your boss steps in and suggests the group move on and that you are right, the group needs to be professional and identifies that their comments are the type of comments that may lead to a sexual harassment complaint or hostile work environment. </a:t>
            </a:r>
          </a:p>
          <a:p>
            <a:pPr marL="0" indent="0">
              <a:buNone/>
            </a:pPr>
            <a:endParaRPr lang="en-US" sz="2400" dirty="0"/>
          </a:p>
          <a:p>
            <a:pPr marL="0" indent="0">
              <a:buNone/>
            </a:pPr>
            <a:r>
              <a:rPr lang="en-US" sz="2400" dirty="0"/>
              <a:t>	This is the best option. </a:t>
            </a:r>
          </a:p>
        </p:txBody>
      </p:sp>
      <p:sp>
        <p:nvSpPr>
          <p:cNvPr id="5" name="Slide Number Placeholder 4">
            <a:extLst>
              <a:ext uri="{FF2B5EF4-FFF2-40B4-BE49-F238E27FC236}">
                <a16:creationId xmlns:a16="http://schemas.microsoft.com/office/drawing/2014/main" id="{C5F90DA7-7ADB-1364-666D-06E275F46EF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1027DD51-562F-C1AE-E3FA-AFBF893BC7DE}"/>
              </a:ext>
            </a:extLst>
          </p:cNvPr>
          <p:cNvPicPr>
            <a:picLocks noChangeAspect="1"/>
          </p:cNvPicPr>
          <p:nvPr/>
        </p:nvPicPr>
        <p:blipFill>
          <a:blip r:embed="rId2"/>
          <a:stretch>
            <a:fillRect/>
          </a:stretch>
        </p:blipFill>
        <p:spPr>
          <a:xfrm>
            <a:off x="432562" y="4479731"/>
            <a:ext cx="975437" cy="972074"/>
          </a:xfrm>
          <a:prstGeom prst="rect">
            <a:avLst/>
          </a:prstGeom>
        </p:spPr>
      </p:pic>
    </p:spTree>
    <p:extLst>
      <p:ext uri="{BB962C8B-B14F-4D97-AF65-F5344CB8AC3E}">
        <p14:creationId xmlns:p14="http://schemas.microsoft.com/office/powerpoint/2010/main" val="3112748099"/>
      </p:ext>
    </p:extLst>
  </p:cSld>
  <p:clrMapOvr>
    <a:masterClrMapping/>
  </p:clrMapOvr>
  <p:transition spd="med">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Complaint Procedures  </a:t>
            </a:r>
            <a:br>
              <a:rPr lang="en-US" sz="1500" dirty="0"/>
            </a:br>
            <a:endParaRPr lang="en-US" dirty="0"/>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9639955"/>
      </p:ext>
    </p:extLst>
  </p:cSld>
  <p:clrMapOvr>
    <a:masterClrMapping/>
  </p:clrMapOvr>
  <p:transition spd="med">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Complaint procedures: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lstStyle/>
          <a:p>
            <a:r>
              <a:rPr lang="en-US" dirty="0"/>
              <a:t>Feel empowered to make a complaint if necessary</a:t>
            </a:r>
          </a:p>
          <a:p>
            <a:r>
              <a:rPr lang="en-US" dirty="0"/>
              <a:t>Most jurisdictions – six months to a year legal time limit for complaint</a:t>
            </a:r>
          </a:p>
          <a:p>
            <a:r>
              <a:rPr lang="en-US" dirty="0"/>
              <a:t>Supervisors often trained to report any harassment</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Close-up of a file folder with a label">
            <a:extLst>
              <a:ext uri="{FF2B5EF4-FFF2-40B4-BE49-F238E27FC236}">
                <a16:creationId xmlns:a16="http://schemas.microsoft.com/office/drawing/2014/main" id="{722E0DBB-F81D-F075-F357-2E6137CA1ACD}"/>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2167966" y="3280144"/>
            <a:ext cx="4668893" cy="2631558"/>
          </a:xfrm>
          <a:prstGeom prst="rect">
            <a:avLst/>
          </a:prstGeom>
        </p:spPr>
      </p:pic>
    </p:spTree>
    <p:extLst>
      <p:ext uri="{BB962C8B-B14F-4D97-AF65-F5344CB8AC3E}">
        <p14:creationId xmlns:p14="http://schemas.microsoft.com/office/powerpoint/2010/main" val="2759949238"/>
      </p:ext>
    </p:extLst>
  </p:cSld>
  <p:clrMapOvr>
    <a:masterClrMapping/>
  </p:clrMapOvr>
  <p:transition spd="med">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No retaliation: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r>
              <a:rPr lang="en-US" sz="2400" dirty="0"/>
              <a:t>Complainants and witnesses protected </a:t>
            </a:r>
          </a:p>
          <a:p>
            <a:r>
              <a:rPr lang="en-US" sz="2400" dirty="0"/>
              <a:t>Refer to </a:t>
            </a:r>
            <a:r>
              <a:rPr lang="en-US" sz="2400" dirty="0">
                <a:hlinkClick r:id="rId2"/>
              </a:rPr>
              <a:t>RPM’s Hotline and Non-Retaliation Policy</a:t>
            </a:r>
            <a:endParaRPr lang="en-US" sz="2400" dirty="0"/>
          </a:p>
          <a:p>
            <a:r>
              <a:rPr lang="en-US" sz="2400" dirty="0"/>
              <a:t>Retaliation = any adverse action, even hostile behaviors or attitudes, because he or she complained about harassment or discrimination</a:t>
            </a:r>
          </a:p>
          <a:p>
            <a:r>
              <a:rPr lang="en-US" sz="2400" dirty="0"/>
              <a:t>Any negative action that would deter a reasonable employee in the same situation in the future </a:t>
            </a:r>
          </a:p>
          <a:p>
            <a:r>
              <a:rPr lang="en-US" sz="2400" dirty="0"/>
              <a:t>Even if complaint unfounded</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9390399"/>
      </p:ext>
    </p:extLst>
  </p:cSld>
  <p:clrMapOvr>
    <a:masterClrMapping/>
  </p:clrMapOvr>
  <p:transition spd="med">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red stamp with text on it">
            <a:extLst>
              <a:ext uri="{FF2B5EF4-FFF2-40B4-BE49-F238E27FC236}">
                <a16:creationId xmlns:a16="http://schemas.microsoft.com/office/drawing/2014/main" id="{6762A2BD-67B3-C15D-6D77-EE4118D2AF0D}"/>
              </a:ext>
            </a:extLst>
          </p:cNvPr>
          <p:cNvPicPr>
            <a:picLocks noChangeAspect="1"/>
          </p:cNvPicPr>
          <p:nvPr/>
        </p:nvPicPr>
        <p:blipFill>
          <a:blip r:embed="rId2">
            <a:duotone>
              <a:schemeClr val="accent2">
                <a:shade val="45000"/>
                <a:satMod val="135000"/>
              </a:schemeClr>
              <a:prstClr val="white"/>
            </a:duotone>
            <a:extLst>
              <a:ext uri="{837473B0-CC2E-450A-ABE3-18F120FF3D39}">
                <a1611:picAttrSrcUrl xmlns:a1611="http://schemas.microsoft.com/office/drawing/2016/11/main" r:id="rId3"/>
              </a:ext>
            </a:extLst>
          </a:blip>
          <a:stretch>
            <a:fillRect/>
          </a:stretch>
        </p:blipFill>
        <p:spPr>
          <a:xfrm rot="1280681">
            <a:off x="-69587" y="2412535"/>
            <a:ext cx="9144000" cy="6457950"/>
          </a:xfrm>
          <a:prstGeom prst="rect">
            <a:avLst/>
          </a:prstGeom>
        </p:spPr>
      </p:pic>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3200" dirty="0"/>
              <a:t>Confidentiality: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678396" y="1681117"/>
            <a:ext cx="8080291" cy="4736012"/>
          </a:xfrm>
        </p:spPr>
        <p:txBody>
          <a:bodyPr>
            <a:normAutofit/>
          </a:bodyPr>
          <a:lstStyle/>
          <a:p>
            <a:r>
              <a:rPr lang="en-US" sz="2400" dirty="0"/>
              <a:t>Reasonable discretion</a:t>
            </a:r>
          </a:p>
          <a:p>
            <a:r>
              <a:rPr lang="en-US" sz="2400" dirty="0"/>
              <a:t>Confidentiality can only be promised to the extent possible under circumstances</a:t>
            </a:r>
          </a:p>
          <a:p>
            <a:r>
              <a:rPr lang="en-US" sz="2400" dirty="0"/>
              <a:t>Alleged harasser may unavoidably learn identity of complainant and witnesses</a:t>
            </a:r>
          </a:p>
          <a:p>
            <a:r>
              <a:rPr lang="en-US" sz="2400" dirty="0"/>
              <a:t>Alleged harasser has rights – may need to learn the source of the complaint to fairly defend self</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93146"/>
      </p:ext>
    </p:extLst>
  </p:cSld>
  <p:clrMapOvr>
    <a:masterClrMapping/>
  </p:clrMapOvr>
  <p:transition spd="med">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22959" y="182880"/>
            <a:ext cx="7381415" cy="729882"/>
          </a:xfrm>
        </p:spPr>
        <p:txBody>
          <a:bodyPr anchor="ctr">
            <a:normAutofit/>
          </a:bodyPr>
          <a:lstStyle/>
          <a:p>
            <a:r>
              <a:rPr lang="en-US" sz="2800" dirty="0"/>
              <a:t>Case Study  </a:t>
            </a:r>
          </a:p>
        </p:txBody>
      </p:sp>
      <p:graphicFrame>
        <p:nvGraphicFramePr>
          <p:cNvPr id="7" name="Content Placeholder 2">
            <a:extLst>
              <a:ext uri="{FF2B5EF4-FFF2-40B4-BE49-F238E27FC236}">
                <a16:creationId xmlns:a16="http://schemas.microsoft.com/office/drawing/2014/main" id="{3277A869-84E7-8020-F799-D21E8D54275F}"/>
              </a:ext>
            </a:extLst>
          </p:cNvPr>
          <p:cNvGraphicFramePr>
            <a:graphicFrameLocks noGrp="1"/>
          </p:cNvGraphicFramePr>
          <p:nvPr>
            <p:ph sz="half" idx="2"/>
            <p:extLst>
              <p:ext uri="{D42A27DB-BD31-4B8C-83A1-F6EECF244321}">
                <p14:modId xmlns:p14="http://schemas.microsoft.com/office/powerpoint/2010/main" val="2334765135"/>
              </p:ext>
            </p:extLst>
          </p:nvPr>
        </p:nvGraphicFramePr>
        <p:xfrm>
          <a:off x="4763621" y="1508125"/>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D38F08CA-6F10-E41E-B196-1B7057928E54}"/>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2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12" name="Content Placeholder 11" descr="A group of people standing around a table&#10;&#10;Description automatically generated">
            <a:extLst>
              <a:ext uri="{FF2B5EF4-FFF2-40B4-BE49-F238E27FC236}">
                <a16:creationId xmlns:a16="http://schemas.microsoft.com/office/drawing/2014/main" id="{3E8B5AA1-FEA3-B155-B89B-123E5BF3167B}"/>
              </a:ext>
            </a:extLst>
          </p:cNvPr>
          <p:cNvPicPr>
            <a:picLocks noGrp="1" noChangeAspect="1"/>
          </p:cNvPicPr>
          <p:nvPr>
            <p:ph sz="half" idx="1"/>
          </p:nvPr>
        </p:nvPicPr>
        <p:blipFill>
          <a:blip r:embed="rId7"/>
          <a:stretch>
            <a:fillRect/>
          </a:stretch>
        </p:blipFill>
        <p:spPr>
          <a:xfrm>
            <a:off x="645914" y="1508125"/>
            <a:ext cx="3851672" cy="5135563"/>
          </a:xfrm>
        </p:spPr>
      </p:pic>
    </p:spTree>
    <p:extLst>
      <p:ext uri="{BB962C8B-B14F-4D97-AF65-F5344CB8AC3E}">
        <p14:creationId xmlns:p14="http://schemas.microsoft.com/office/powerpoint/2010/main" val="3040046042"/>
      </p:ext>
    </p:extLst>
  </p:cSld>
  <p:clrMapOvr>
    <a:masterClrMapping/>
  </p:clrMapOvr>
  <p:transition spd="med">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2800" dirty="0"/>
              <a:t>Case Study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r>
              <a:rPr lang="en-US" sz="2400" dirty="0"/>
              <a:t>As you are walking to your car, Celeste approaches you and wants to discuss something privately. </a:t>
            </a:r>
          </a:p>
          <a:p>
            <a:r>
              <a:rPr lang="en-US" sz="2400" dirty="0"/>
              <a:t>She says that she is really enjoying her internship, but Greg has been inappropriate with her. She says that he cornered her in a supply closet, tucked her hair behind her ear, and told her that he could all but guarantee her a job here. He offered to take her to dinner to discuss it and mentioned that reviews are coming up in a few weeks. </a:t>
            </a:r>
          </a:p>
          <a:p>
            <a:r>
              <a:rPr lang="en-US" sz="2400" dirty="0"/>
              <a:t>You offer to report this incident to HR or a manager. </a:t>
            </a:r>
          </a:p>
          <a:p>
            <a:r>
              <a:rPr lang="en-US" sz="2400" dirty="0"/>
              <a:t>Celeste declines your help and asks you not to say anything.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496459"/>
      </p:ext>
    </p:extLst>
  </p:cSld>
  <p:clrMapOvr>
    <a:masterClrMapping/>
  </p:clrMapOvr>
  <p:transition spd="med">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2800" dirty="0"/>
              <a:t>Possible Next Steps?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898841"/>
            <a:ext cx="8074836" cy="4842074"/>
          </a:xfrm>
        </p:spPr>
        <p:txBody>
          <a:bodyPr>
            <a:normAutofit/>
          </a:bodyPr>
          <a:lstStyle/>
          <a:p>
            <a:pPr>
              <a:buFont typeface="Wingdings" panose="05000000000000000000" pitchFamily="2" charset="2"/>
              <a:buChar char="q"/>
            </a:pPr>
            <a:r>
              <a:rPr lang="en-US" sz="2400" dirty="0"/>
              <a:t>Leave it alone. Celeste asked you to do nothing. </a:t>
            </a:r>
          </a:p>
          <a:p>
            <a:pPr>
              <a:buFont typeface="Wingdings" panose="05000000000000000000" pitchFamily="2" charset="2"/>
              <a:buChar char="q"/>
            </a:pPr>
            <a:r>
              <a:rPr lang="en-US" sz="2400" dirty="0"/>
              <a:t>Go to Greg directly and confront him. </a:t>
            </a:r>
          </a:p>
          <a:p>
            <a:pPr>
              <a:buFont typeface="Wingdings" panose="05000000000000000000" pitchFamily="2" charset="2"/>
              <a:buChar char="q"/>
            </a:pPr>
            <a:r>
              <a:rPr lang="en-US" sz="2400" dirty="0"/>
              <a:t>Report it to a supervisor and H.R.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1651047"/>
      </p:ext>
    </p:extLst>
  </p:cSld>
  <p:clrMapOvr>
    <a:masterClrMapping/>
  </p:clrMapOvr>
  <p:transition spd="med">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p:txBody>
          <a:bodyPr/>
          <a:lstStyle/>
          <a:p>
            <a:r>
              <a:rPr lang="en-US" sz="2800" dirty="0"/>
              <a:t>Report it to a Supervisor and HR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2081404"/>
            <a:ext cx="8074836" cy="4842074"/>
          </a:xfrm>
        </p:spPr>
        <p:txBody>
          <a:bodyPr/>
          <a:lstStyle/>
          <a:p>
            <a:pPr marL="0" indent="0">
              <a:buNone/>
            </a:pPr>
            <a:r>
              <a:rPr lang="en-US" dirty="0"/>
              <a:t>	This is the best option</a:t>
            </a:r>
          </a:p>
          <a:p>
            <a:pPr marL="0" indent="0">
              <a:buNone/>
            </a:pPr>
            <a:endParaRPr lang="en-US" dirty="0"/>
          </a:p>
          <a:p>
            <a:r>
              <a:rPr lang="en-US" dirty="0"/>
              <a:t>HR asks you to keep the complaint confidential. </a:t>
            </a:r>
          </a:p>
          <a:p>
            <a:r>
              <a:rPr lang="en-US" dirty="0"/>
              <a:t>Since the investigation is confidential, you aren’t privy to how the investigation proceeded. </a:t>
            </a:r>
          </a:p>
          <a:p>
            <a:r>
              <a:rPr lang="en-US" dirty="0"/>
              <a:t>Celeste got a new mentor and a full-time offer at the end of her internship.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4EA06AD8-1CF1-328A-030D-1668D259DAAD}"/>
              </a:ext>
            </a:extLst>
          </p:cNvPr>
          <p:cNvPicPr>
            <a:picLocks noChangeAspect="1"/>
          </p:cNvPicPr>
          <p:nvPr/>
        </p:nvPicPr>
        <p:blipFill>
          <a:blip r:embed="rId2"/>
          <a:stretch>
            <a:fillRect/>
          </a:stretch>
        </p:blipFill>
        <p:spPr>
          <a:xfrm>
            <a:off x="341389" y="1502234"/>
            <a:ext cx="1164437" cy="1158340"/>
          </a:xfrm>
          <a:prstGeom prst="rect">
            <a:avLst/>
          </a:prstGeom>
        </p:spPr>
      </p:pic>
    </p:spTree>
    <p:extLst>
      <p:ext uri="{BB962C8B-B14F-4D97-AF65-F5344CB8AC3E}">
        <p14:creationId xmlns:p14="http://schemas.microsoft.com/office/powerpoint/2010/main" val="3588830937"/>
      </p:ext>
    </p:extLst>
  </p:cSld>
  <p:clrMapOvr>
    <a:masterClrMapping/>
  </p:clrMapOvr>
  <p:transition spd="med">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736064" y="188943"/>
            <a:ext cx="7358907" cy="787032"/>
          </a:xfrm>
        </p:spPr>
        <p:txBody>
          <a:bodyPr/>
          <a:lstStyle/>
          <a:p>
            <a:r>
              <a:rPr lang="en-US" sz="2800" dirty="0"/>
              <a:t>Who may be liable for sexual </a:t>
            </a:r>
            <a:br>
              <a:rPr lang="en-US" sz="2800" dirty="0"/>
            </a:br>
            <a:r>
              <a:rPr lang="en-US" sz="2800" dirty="0"/>
              <a:t>harassment?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r>
              <a:rPr lang="en-US" sz="2400" dirty="0"/>
              <a:t>The employer, and </a:t>
            </a:r>
          </a:p>
          <a:p>
            <a:r>
              <a:rPr lang="en-US" sz="2400" dirty="0"/>
              <a:t>The harasser.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wooden letter tiles spelling a word">
            <a:extLst>
              <a:ext uri="{FF2B5EF4-FFF2-40B4-BE49-F238E27FC236}">
                <a16:creationId xmlns:a16="http://schemas.microsoft.com/office/drawing/2014/main" id="{CDF3DC73-F688-EE30-0527-DFEB4EB459AE}"/>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1612161" y="2611902"/>
            <a:ext cx="5919677" cy="3946451"/>
          </a:xfrm>
          <a:prstGeom prst="rect">
            <a:avLst/>
          </a:prstGeom>
        </p:spPr>
      </p:pic>
    </p:spTree>
    <p:extLst>
      <p:ext uri="{BB962C8B-B14F-4D97-AF65-F5344CB8AC3E}">
        <p14:creationId xmlns:p14="http://schemas.microsoft.com/office/powerpoint/2010/main" val="1785414279"/>
      </p:ext>
    </p:extLst>
  </p:cSld>
  <p:clrMapOvr>
    <a:masterClrMapping/>
  </p:clrMapOvr>
  <p:transition spd="med">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22960" y="182880"/>
            <a:ext cx="7358907" cy="787032"/>
          </a:xfrm>
        </p:spPr>
        <p:txBody>
          <a:bodyPr anchor="ctr">
            <a:normAutofit/>
          </a:bodyPr>
          <a:lstStyle/>
          <a:p>
            <a:r>
              <a:rPr lang="en-US"/>
              <a:t>When is an employer liable? </a:t>
            </a:r>
          </a:p>
        </p:txBody>
      </p:sp>
      <p:sp>
        <p:nvSpPr>
          <p:cNvPr id="11" name="Date Placeholder 3">
            <a:extLst>
              <a:ext uri="{FF2B5EF4-FFF2-40B4-BE49-F238E27FC236}">
                <a16:creationId xmlns:a16="http://schemas.microsoft.com/office/drawing/2014/main" id="{4F798565-01FD-8CEF-AB64-573295133F81}"/>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29</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6E588EDF-5E95-1C38-2519-86033C8F0341}"/>
              </a:ext>
            </a:extLst>
          </p:cNvPr>
          <p:cNvGraphicFramePr>
            <a:graphicFrameLocks noGrp="1"/>
          </p:cNvGraphicFramePr>
          <p:nvPr>
            <p:ph idx="1"/>
            <p:extLst>
              <p:ext uri="{D42A27DB-BD31-4B8C-83A1-F6EECF244321}">
                <p14:modId xmlns:p14="http://schemas.microsoft.com/office/powerpoint/2010/main" val="2240405291"/>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72392565"/>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0285B-8080-8FB3-9DE5-68BBF052C702}"/>
              </a:ext>
            </a:extLst>
          </p:cNvPr>
          <p:cNvSpPr>
            <a:spLocks noGrp="1"/>
          </p:cNvSpPr>
          <p:nvPr>
            <p:ph type="title"/>
          </p:nvPr>
        </p:nvSpPr>
        <p:spPr/>
        <p:txBody>
          <a:bodyPr/>
          <a:lstStyle/>
          <a:p>
            <a:r>
              <a:rPr lang="en-US" sz="3200" dirty="0"/>
              <a:t>Lesson Learned</a:t>
            </a:r>
          </a:p>
        </p:txBody>
      </p:sp>
      <p:sp>
        <p:nvSpPr>
          <p:cNvPr id="3" name="Content Placeholder 2">
            <a:extLst>
              <a:ext uri="{FF2B5EF4-FFF2-40B4-BE49-F238E27FC236}">
                <a16:creationId xmlns:a16="http://schemas.microsoft.com/office/drawing/2014/main" id="{624011B1-7492-6971-CCE1-AEF3F0B76710}"/>
              </a:ext>
            </a:extLst>
          </p:cNvPr>
          <p:cNvSpPr>
            <a:spLocks noGrp="1"/>
          </p:cNvSpPr>
          <p:nvPr>
            <p:ph idx="1"/>
          </p:nvPr>
        </p:nvSpPr>
        <p:spPr/>
        <p:txBody>
          <a:bodyPr>
            <a:noAutofit/>
          </a:bodyPr>
          <a:lstStyle/>
          <a:p>
            <a:r>
              <a:rPr lang="en-US" sz="2250" b="0" i="0" dirty="0">
                <a:effectLst/>
              </a:rPr>
              <a:t>Work conversations should remain professional and not be allowed to veer into questionable territory. Even if people aren’t voicing opposition, the conversation could still be offensive to them.</a:t>
            </a:r>
          </a:p>
          <a:p>
            <a:r>
              <a:rPr lang="en-US" sz="2250" b="0" i="0" dirty="0">
                <a:effectLst/>
              </a:rPr>
              <a:t>If you feel uncomfortable with workplace conduct or uncomfortable for those who potentially are not speaking up for themselves, speak up directly or talk to Human Resources or a supervisor.</a:t>
            </a:r>
          </a:p>
          <a:p>
            <a:r>
              <a:rPr lang="en-US" sz="2250" b="0" i="0" dirty="0">
                <a:effectLst/>
              </a:rPr>
              <a:t>In some situations, the boss or a supervisor may be the culprit or an accomplice by not stopping questionable conduct. In those situations, you might consider having a private conversation with them, their boss, or Human Resources. This is not tattling; it is an important part of maintaining a harassment-free workplace.</a:t>
            </a:r>
          </a:p>
          <a:p>
            <a:r>
              <a:rPr lang="en-US" sz="2250" b="0" i="0" dirty="0">
                <a:effectLst/>
              </a:rPr>
              <a:t>Everyone is a leader when it comes to workplace culture.</a:t>
            </a:r>
          </a:p>
          <a:p>
            <a:endParaRPr lang="en-US" sz="2250" dirty="0"/>
          </a:p>
        </p:txBody>
      </p:sp>
      <p:sp>
        <p:nvSpPr>
          <p:cNvPr id="5" name="Slide Number Placeholder 4">
            <a:extLst>
              <a:ext uri="{FF2B5EF4-FFF2-40B4-BE49-F238E27FC236}">
                <a16:creationId xmlns:a16="http://schemas.microsoft.com/office/drawing/2014/main" id="{9F4A57F8-D987-CCC9-B607-3D2167EA8A14}"/>
              </a:ext>
            </a:extLst>
          </p:cNvPr>
          <p:cNvSpPr>
            <a:spLocks noGrp="1"/>
          </p:cNvSpPr>
          <p:nvPr>
            <p:ph type="sldNum" sz="quarter" idx="4"/>
          </p:nvPr>
        </p:nvSpPr>
        <p:spPr/>
        <p:txBody>
          <a:bodyPr/>
          <a:lstStyle/>
          <a:p>
            <a:fld id="{BB5FC4A1-A2DE-4EB5-9A46-57D39B4235EC}" type="slidenum">
              <a:rPr lang="en-US" smtClean="0"/>
              <a:pPr/>
              <a:t>13</a:t>
            </a:fld>
            <a:endParaRPr lang="en-US"/>
          </a:p>
        </p:txBody>
      </p:sp>
    </p:spTree>
    <p:extLst>
      <p:ext uri="{BB962C8B-B14F-4D97-AF65-F5344CB8AC3E}">
        <p14:creationId xmlns:p14="http://schemas.microsoft.com/office/powerpoint/2010/main" val="2311826028"/>
      </p:ext>
    </p:extLst>
  </p:cSld>
  <p:clrMapOvr>
    <a:masterClrMapping/>
  </p:clrMapOvr>
  <p:transition spd="med">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55593"/>
            <a:ext cx="7358907" cy="787032"/>
          </a:xfrm>
        </p:spPr>
        <p:txBody>
          <a:bodyPr/>
          <a:lstStyle/>
          <a:p>
            <a:r>
              <a:rPr lang="en-US" sz="2800" dirty="0"/>
              <a:t>How can individuals be liable?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45945" y="1960333"/>
            <a:ext cx="8074836" cy="4842074"/>
          </a:xfrm>
        </p:spPr>
        <p:txBody>
          <a:bodyPr>
            <a:normAutofit/>
          </a:bodyPr>
          <a:lstStyle/>
          <a:p>
            <a:r>
              <a:rPr lang="en-US" sz="2400" dirty="0"/>
              <a:t>Unlawful sexual harassment</a:t>
            </a:r>
          </a:p>
          <a:p>
            <a:r>
              <a:rPr lang="en-US" sz="2400" dirty="0"/>
              <a:t>An employment relationship between harasser and victim</a:t>
            </a:r>
          </a:p>
          <a:p>
            <a:r>
              <a:rPr lang="en-US" sz="2400" dirty="0"/>
              <a:t>Supervisor, peer, or subordinate</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150901"/>
      </p:ext>
    </p:extLst>
  </p:cSld>
  <p:clrMapOvr>
    <a:masterClrMapping/>
  </p:clrMapOvr>
  <p:transition spd="med">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2800" i="0" dirty="0">
                <a:solidFill>
                  <a:srgbClr val="FFFFFF"/>
                </a:solidFill>
                <a:effectLst/>
              </a:rPr>
              <a:t>Victims may be entitled to legal "remedies" </a:t>
            </a:r>
            <a:br>
              <a:rPr lang="en-US" sz="2800" i="0" dirty="0">
                <a:solidFill>
                  <a:srgbClr val="FFFFFF"/>
                </a:solidFill>
                <a:effectLst/>
              </a:rPr>
            </a:br>
            <a:r>
              <a:rPr lang="en-US" sz="2800" i="0" dirty="0">
                <a:solidFill>
                  <a:srgbClr val="FFFFFF"/>
                </a:solidFill>
                <a:effectLst/>
              </a:rPr>
              <a:t>or awards:</a:t>
            </a:r>
            <a:r>
              <a:rPr lang="en-US" sz="2800" dirty="0"/>
              <a:t> </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534581" y="1716279"/>
            <a:ext cx="8074836" cy="4842074"/>
          </a:xfrm>
        </p:spPr>
        <p:txBody>
          <a:bodyPr>
            <a:normAutofit/>
          </a:bodyPr>
          <a:lstStyle/>
          <a:p>
            <a:r>
              <a:rPr lang="en-US" sz="2400" dirty="0"/>
              <a:t>“Make whole” relief: back pay, front pay, reinstatement, transfer, purge personnel file, etc.</a:t>
            </a:r>
          </a:p>
          <a:p>
            <a:r>
              <a:rPr lang="en-US" sz="2400" dirty="0"/>
              <a:t>Compensatory damages for emotional and physical distress</a:t>
            </a:r>
          </a:p>
          <a:p>
            <a:r>
              <a:rPr lang="en-US" sz="2400" dirty="0"/>
              <a:t>Punitive damages</a:t>
            </a:r>
          </a:p>
          <a:p>
            <a:r>
              <a:rPr lang="en-US" sz="2400" dirty="0"/>
              <a:t>Affirmative relief (in some states): employer is ordered to implement workplace policies, conduct training, provide counseling</a:t>
            </a:r>
          </a:p>
          <a:p>
            <a:r>
              <a:rPr lang="en-US" sz="2400" dirty="0"/>
              <a:t>Administrative fines (in some states)</a:t>
            </a:r>
          </a:p>
          <a:p>
            <a:r>
              <a:rPr lang="en-US" sz="2400" dirty="0"/>
              <a:t>Injunctive relief </a:t>
            </a:r>
          </a:p>
          <a:p>
            <a:r>
              <a:rPr lang="en-US" sz="2400" dirty="0"/>
              <a:t>Attorney fees and costs</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894083"/>
      </p:ext>
    </p:extLst>
  </p:cSld>
  <p:clrMapOvr>
    <a:masterClrMapping/>
  </p:clrMapOvr>
  <p:transition spd="med">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Quiz   </a:t>
            </a:r>
            <a:br>
              <a:rPr lang="en-US" sz="1500" dirty="0"/>
            </a:br>
            <a:endParaRPr lang="en-US" dirty="0"/>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9786998"/>
      </p:ext>
    </p:extLst>
  </p:cSld>
  <p:clrMapOvr>
    <a:masterClrMapping/>
  </p:clrMapOvr>
  <p:transition spd="med">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Question #1</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pPr marL="0" indent="0">
              <a:buNone/>
            </a:pPr>
            <a:r>
              <a:rPr lang="en-US" sz="2400" dirty="0"/>
              <a:t>A supervisor catches an employee stealing printer toner from work and selling it online. According to company policy, the employee should be fired for theft of company property. The supervisor offers not to report the theft in exchange for a "date" later that night. The employee reports this as sexual harassment.</a:t>
            </a:r>
          </a:p>
          <a:p>
            <a:endParaRPr lang="en-US" sz="2400" dirty="0"/>
          </a:p>
          <a:p>
            <a:pPr marL="0" indent="0">
              <a:buNone/>
            </a:pPr>
            <a:r>
              <a:rPr lang="en-US" sz="2400" dirty="0"/>
              <a:t>Is this sexual harassment? </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93591"/>
      </p:ext>
    </p:extLst>
  </p:cSld>
  <p:clrMapOvr>
    <a:masterClrMapping/>
  </p:clrMapOvr>
  <p:transition spd="med">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Answer #1</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lstStyle/>
          <a:p>
            <a:pPr marL="0" indent="0">
              <a:buNone/>
            </a:pPr>
            <a:r>
              <a:rPr lang="en-US" dirty="0"/>
              <a:t>	This is quid pro quo sexual harassment. </a:t>
            </a:r>
          </a:p>
          <a:p>
            <a:pPr marL="0" indent="0">
              <a:buNone/>
            </a:pPr>
            <a:endParaRPr lang="en-US" dirty="0"/>
          </a:p>
          <a:p>
            <a:pPr marL="0" indent="0">
              <a:buNone/>
            </a:pPr>
            <a:r>
              <a:rPr lang="en-US" dirty="0"/>
              <a:t>There is an employment relationship between the two individuals (even if the employee was immediately fired and had to submit to a "date" in order to be re-hired, he/she would be protected as a job applicant). There is a tangible work benefit associated with accepting the request for the date. </a:t>
            </a:r>
          </a:p>
          <a:p>
            <a:pPr marL="0" indent="0">
              <a:buNone/>
            </a:pPr>
            <a:endParaRPr lang="en-US" dirty="0"/>
          </a:p>
          <a:p>
            <a:pPr marL="0" indent="0">
              <a:buNone/>
            </a:pPr>
            <a:r>
              <a:rPr lang="en-US" dirty="0"/>
              <a:t>Both the supervisor and employer are liable for sexual harassment.</a:t>
            </a:r>
          </a:p>
          <a:p>
            <a:pPr marL="0" indent="0">
              <a:buNone/>
            </a:pPr>
            <a:endParaRPr lang="en-US" dirty="0"/>
          </a:p>
          <a:p>
            <a:pPr marL="0" indent="0">
              <a:buNone/>
            </a:pPr>
            <a:r>
              <a:rPr lang="en-US" dirty="0"/>
              <a:t>Although the theft should still result in the employee being fired and perhaps criminal charges, the supervisor's response was negligent of duties, abusive of power, and clearly quid pro quo.</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D6EB723-6422-A757-04A9-0092A77A0ECD}"/>
              </a:ext>
            </a:extLst>
          </p:cNvPr>
          <p:cNvPicPr>
            <a:picLocks noChangeAspect="1"/>
          </p:cNvPicPr>
          <p:nvPr/>
        </p:nvPicPr>
        <p:blipFill>
          <a:blip r:embed="rId2"/>
          <a:stretch>
            <a:fillRect/>
          </a:stretch>
        </p:blipFill>
        <p:spPr>
          <a:xfrm>
            <a:off x="310327" y="1002282"/>
            <a:ext cx="1164437" cy="1158340"/>
          </a:xfrm>
          <a:prstGeom prst="rect">
            <a:avLst/>
          </a:prstGeom>
        </p:spPr>
      </p:pic>
    </p:spTree>
    <p:extLst>
      <p:ext uri="{BB962C8B-B14F-4D97-AF65-F5344CB8AC3E}">
        <p14:creationId xmlns:p14="http://schemas.microsoft.com/office/powerpoint/2010/main" val="213866169"/>
      </p:ext>
    </p:extLst>
  </p:cSld>
  <p:clrMapOvr>
    <a:masterClrMapping/>
  </p:clrMapOvr>
  <p:transition spd="med">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Question #2</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fontScale="85000" lnSpcReduction="20000"/>
          </a:bodyPr>
          <a:lstStyle/>
          <a:p>
            <a:pPr marL="0" indent="0">
              <a:buNone/>
            </a:pPr>
            <a:r>
              <a:rPr lang="en-US" dirty="0"/>
              <a:t>Mary is a new entry-level supervisor in a traditionally male-dominated occupation. The other supervisors and 95% of the workforce are men. </a:t>
            </a:r>
          </a:p>
          <a:p>
            <a:pPr marL="0" indent="0">
              <a:buNone/>
            </a:pPr>
            <a:endParaRPr lang="en-US" dirty="0"/>
          </a:p>
          <a:p>
            <a:pPr marL="0" indent="0">
              <a:buNone/>
            </a:pPr>
            <a:r>
              <a:rPr lang="en-US" dirty="0"/>
              <a:t>Mary’s Senior Supervisor does not think women should be in the industry and resents that headquarters is “forcing an affirmative action case” on him. The Senior Supervisor tells the other supervisors and team members, “this industry is no place for a woman.” He tells Mary’s subordinates to “keep an eye on her” and “overrule her when things are important.” </a:t>
            </a:r>
          </a:p>
          <a:p>
            <a:pPr marL="0" indent="0">
              <a:buNone/>
            </a:pPr>
            <a:endParaRPr lang="en-US" dirty="0"/>
          </a:p>
          <a:p>
            <a:pPr marL="0" indent="0">
              <a:buNone/>
            </a:pPr>
            <a:r>
              <a:rPr lang="en-US" dirty="0"/>
              <a:t>Mary tells the Senior Supervisor that he is undermining her, but he says, “grow a pair or you’ll never make it here.” </a:t>
            </a:r>
          </a:p>
          <a:p>
            <a:pPr marL="0" indent="0">
              <a:buNone/>
            </a:pPr>
            <a:endParaRPr lang="en-US" dirty="0"/>
          </a:p>
          <a:p>
            <a:pPr marL="0" indent="0">
              <a:buNone/>
            </a:pPr>
            <a:r>
              <a:rPr lang="en-US" dirty="0"/>
              <a:t>The Senior Supervisor has not expressed interest in Mary sexually or made sexual comments. Mary willingly made her career in a male-dominated occupation and was warned that sexism may come with the territory.</a:t>
            </a:r>
          </a:p>
          <a:p>
            <a:pPr marL="0" indent="0">
              <a:buNone/>
            </a:pPr>
            <a:endParaRPr lang="en-US" dirty="0"/>
          </a:p>
          <a:p>
            <a:pPr marL="0" indent="0">
              <a:buNone/>
            </a:pPr>
            <a:r>
              <a:rPr lang="en-US" dirty="0"/>
              <a:t>Is this sexual harassment? </a:t>
            </a:r>
          </a:p>
          <a:p>
            <a:pPr>
              <a:buFont typeface="Wingdings" panose="05000000000000000000" pitchFamily="2" charset="2"/>
              <a:buChar char="q"/>
            </a:pPr>
            <a:r>
              <a:rPr lang="en-US" dirty="0"/>
              <a:t>Yes </a:t>
            </a:r>
          </a:p>
          <a:p>
            <a:pPr>
              <a:buFont typeface="Wingdings" panose="05000000000000000000" pitchFamily="2" charset="2"/>
              <a:buChar char="q"/>
            </a:pPr>
            <a:r>
              <a:rPr lang="en-US"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2711549"/>
      </p:ext>
    </p:extLst>
  </p:cSld>
  <p:clrMapOvr>
    <a:masterClrMapping/>
  </p:clrMapOvr>
  <p:transition spd="med">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Answer #2</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534581" y="1704834"/>
            <a:ext cx="8074836" cy="4842074"/>
          </a:xfrm>
        </p:spPr>
        <p:txBody>
          <a:bodyPr>
            <a:normAutofit/>
          </a:bodyPr>
          <a:lstStyle/>
          <a:p>
            <a:pPr marL="0" indent="0">
              <a:buNone/>
            </a:pPr>
            <a:r>
              <a:rPr lang="en-US" sz="2400" dirty="0"/>
              <a:t>	The statements undermining Mary’s authority and the sexism expressed against her gender by the Senior Supervisor have created a hostile work environment.</a:t>
            </a:r>
          </a:p>
          <a:p>
            <a:pPr marL="0" indent="0">
              <a:buNone/>
            </a:pPr>
            <a:endParaRPr lang="en-US" sz="2400" dirty="0"/>
          </a:p>
          <a:p>
            <a:pPr marL="0" indent="0">
              <a:buNone/>
            </a:pPr>
            <a:r>
              <a:rPr lang="en-US" sz="2400" dirty="0"/>
              <a:t>Harassment does not have to involve sexual comments or sexual situations to be considered sexual harassment. Sexual harassment is a form of discrimination based on a person’s gender. </a:t>
            </a:r>
          </a:p>
          <a:p>
            <a:pPr marL="0" indent="0">
              <a:buNone/>
            </a:pPr>
            <a:endParaRPr lang="en-US" sz="2400" dirty="0"/>
          </a:p>
          <a:p>
            <a:pPr marL="0" indent="0">
              <a:buNone/>
            </a:pPr>
            <a:r>
              <a:rPr lang="en-US" sz="2400" dirty="0"/>
              <a:t>The fact that Mary is in a male-dominated field in no way should compel her to accept a hostile work environment or a less than equal chance to succeed in her job.</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8CC6E98C-76BE-924A-1C1D-56F4AA4011FE}"/>
              </a:ext>
            </a:extLst>
          </p:cNvPr>
          <p:cNvPicPr>
            <a:picLocks noChangeAspect="1"/>
          </p:cNvPicPr>
          <p:nvPr/>
        </p:nvPicPr>
        <p:blipFill>
          <a:blip r:embed="rId2"/>
          <a:stretch>
            <a:fillRect/>
          </a:stretch>
        </p:blipFill>
        <p:spPr>
          <a:xfrm>
            <a:off x="480561" y="1125664"/>
            <a:ext cx="1164437" cy="1158340"/>
          </a:xfrm>
          <a:prstGeom prst="rect">
            <a:avLst/>
          </a:prstGeom>
        </p:spPr>
      </p:pic>
    </p:spTree>
    <p:extLst>
      <p:ext uri="{BB962C8B-B14F-4D97-AF65-F5344CB8AC3E}">
        <p14:creationId xmlns:p14="http://schemas.microsoft.com/office/powerpoint/2010/main" val="1501832094"/>
      </p:ext>
    </p:extLst>
  </p:cSld>
  <p:clrMapOvr>
    <a:masterClrMapping/>
  </p:clrMapOvr>
  <p:transition spd="med">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Question #3</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pPr marL="0" indent="0">
              <a:buNone/>
            </a:pPr>
            <a:r>
              <a:rPr lang="en-US" sz="2400" dirty="0"/>
              <a:t>A non-supervisor employee receives sexual harassment training but still sexually gropes another employee without warning. The groped employee is extremely upset by the incident and refers to the employer’s sexual harassment policy. The policy says the employer has zero tolerance for sexual harassment. The groped employee reports this to a supervisor and immediately hires a lawyer to bring a suit against the employer.</a:t>
            </a:r>
          </a:p>
          <a:p>
            <a:pPr marL="0" indent="0">
              <a:buNone/>
            </a:pPr>
            <a:endParaRPr lang="en-US" sz="2400" dirty="0"/>
          </a:p>
          <a:p>
            <a:pPr marL="0" indent="0">
              <a:buNone/>
            </a:pPr>
            <a:r>
              <a:rPr lang="en-US" sz="2400" dirty="0"/>
              <a:t>Does the employee have a case against the company?</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4324525"/>
      </p:ext>
    </p:extLst>
  </p:cSld>
  <p:clrMapOvr>
    <a:masterClrMapping/>
  </p:clrMapOvr>
  <p:transition spd="med">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Answer #3</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pPr marL="0" indent="0">
              <a:buNone/>
            </a:pPr>
            <a:r>
              <a:rPr lang="en-US" dirty="0"/>
              <a:t>	The only ways the company can be liable are:</a:t>
            </a:r>
          </a:p>
          <a:p>
            <a:pPr marL="0" indent="0">
              <a:buNone/>
            </a:pPr>
            <a:endParaRPr lang="en-US" dirty="0"/>
          </a:p>
          <a:p>
            <a:r>
              <a:rPr lang="en-US" dirty="0"/>
              <a:t>If the harasser was a supervisor,</a:t>
            </a:r>
          </a:p>
          <a:p>
            <a:r>
              <a:rPr lang="en-US" dirty="0"/>
              <a:t>If the employer knew or should have known of the harassing conduct and failed to take immediate and appropriate corrective action, or</a:t>
            </a:r>
          </a:p>
          <a:p>
            <a:r>
              <a:rPr lang="en-US" dirty="0"/>
              <a:t>If the employer failed to properly investigate the complaint.</a:t>
            </a:r>
          </a:p>
          <a:p>
            <a:pPr marL="0" indent="0">
              <a:buNone/>
            </a:pPr>
            <a:r>
              <a:rPr lang="en-US" dirty="0"/>
              <a:t>The employer acted responsibly by providing training on sexual harassment, having a policy of zero tolerance for sexual harassment, and having a system in place to receive a complaint. The employer had no way of knowing that the groping was about to take place before it did and hadn't yet been given the chance to properly investigate the incident and take corrective action against the harasser. </a:t>
            </a:r>
          </a:p>
          <a:p>
            <a:pPr marL="0" indent="0">
              <a:buNone/>
            </a:pPr>
            <a:endParaRPr lang="en-US" dirty="0"/>
          </a:p>
          <a:p>
            <a:pPr marL="0" indent="0">
              <a:buNone/>
            </a:pPr>
            <a:r>
              <a:rPr lang="en-US" dirty="0"/>
              <a:t>On the other hand, the harasser is personally liable.</a:t>
            </a: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3199933C-06C5-AA0D-B91E-76079F71533D}"/>
              </a:ext>
            </a:extLst>
          </p:cNvPr>
          <p:cNvPicPr>
            <a:picLocks noChangeAspect="1"/>
          </p:cNvPicPr>
          <p:nvPr/>
        </p:nvPicPr>
        <p:blipFill>
          <a:blip r:embed="rId2"/>
          <a:stretch>
            <a:fillRect/>
          </a:stretch>
        </p:blipFill>
        <p:spPr>
          <a:xfrm>
            <a:off x="411832" y="1002282"/>
            <a:ext cx="1164437" cy="1158340"/>
          </a:xfrm>
          <a:prstGeom prst="rect">
            <a:avLst/>
          </a:prstGeom>
        </p:spPr>
      </p:pic>
    </p:spTree>
    <p:extLst>
      <p:ext uri="{BB962C8B-B14F-4D97-AF65-F5344CB8AC3E}">
        <p14:creationId xmlns:p14="http://schemas.microsoft.com/office/powerpoint/2010/main" val="2773213774"/>
      </p:ext>
    </p:extLst>
  </p:cSld>
  <p:clrMapOvr>
    <a:masterClrMapping/>
  </p:clrMapOvr>
  <p:transition spd="med">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Question #4</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pPr marL="0" indent="0">
              <a:buNone/>
            </a:pPr>
            <a:r>
              <a:rPr lang="en-US" sz="2400" dirty="0"/>
              <a:t>John repeatedly calls his coworker Tom a disparaging term for gay men and often addresses him using female names such as “Sally” or “Jane” in the workplace. The behavior doesn’t stop, and Tom is deeply offended and reports this to his Supervisor.</a:t>
            </a:r>
          </a:p>
          <a:p>
            <a:pPr marL="0" indent="0">
              <a:buNone/>
            </a:pPr>
            <a:endParaRPr lang="en-US" sz="2400" dirty="0"/>
          </a:p>
          <a:p>
            <a:pPr marL="0" indent="0">
              <a:buNone/>
            </a:pPr>
            <a:r>
              <a:rPr lang="en-US" sz="2400" dirty="0"/>
              <a:t>Does the employee have a case against the company?</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040809"/>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p:txBody>
          <a:bodyPr/>
          <a:lstStyle/>
          <a:p>
            <a:r>
              <a:rPr lang="en-US" sz="3200" dirty="0"/>
              <a:t>What’s Sexual Harassment?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2" y="1742676"/>
            <a:ext cx="8074836" cy="4392310"/>
          </a:xfrm>
        </p:spPr>
        <p:txBody>
          <a:bodyPr>
            <a:normAutofit/>
          </a:bodyPr>
          <a:lstStyle/>
          <a:p>
            <a:pPr marL="0" indent="0">
              <a:buNone/>
            </a:pPr>
            <a:r>
              <a:rPr lang="en-US" sz="3600" dirty="0"/>
              <a:t>There are two types of sexual harassment: </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fld id="{BB5FC4A1-A2DE-4EB5-9A46-57D39B4235EC}" type="slidenum">
              <a:rPr lang="en-US" smtClean="0"/>
              <a:pPr/>
              <a:t>14</a:t>
            </a:fld>
            <a:endParaRPr lang="en-US"/>
          </a:p>
        </p:txBody>
      </p:sp>
      <p:sp>
        <p:nvSpPr>
          <p:cNvPr id="4" name="Rectangle 3">
            <a:extLst>
              <a:ext uri="{FF2B5EF4-FFF2-40B4-BE49-F238E27FC236}">
                <a16:creationId xmlns:a16="http://schemas.microsoft.com/office/drawing/2014/main" id="{375CA9C8-AF74-5384-755F-BA4F846E0ADB}"/>
              </a:ext>
            </a:extLst>
          </p:cNvPr>
          <p:cNvSpPr/>
          <p:nvPr/>
        </p:nvSpPr>
        <p:spPr>
          <a:xfrm>
            <a:off x="636602" y="2658137"/>
            <a:ext cx="3355635" cy="308663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200" dirty="0"/>
              <a:t>Hostile Work Environment</a:t>
            </a:r>
          </a:p>
        </p:txBody>
      </p:sp>
      <p:sp>
        <p:nvSpPr>
          <p:cNvPr id="6" name="Rectangle 5">
            <a:extLst>
              <a:ext uri="{FF2B5EF4-FFF2-40B4-BE49-F238E27FC236}">
                <a16:creationId xmlns:a16="http://schemas.microsoft.com/office/drawing/2014/main" id="{7A978DBD-DD37-C248-2D0D-70AC82CD74FF}"/>
              </a:ext>
            </a:extLst>
          </p:cNvPr>
          <p:cNvSpPr/>
          <p:nvPr/>
        </p:nvSpPr>
        <p:spPr>
          <a:xfrm>
            <a:off x="5017618" y="2658138"/>
            <a:ext cx="3355635" cy="308663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200" dirty="0"/>
              <a:t>Quid Pro Quo</a:t>
            </a:r>
          </a:p>
        </p:txBody>
      </p:sp>
    </p:spTree>
    <p:extLst>
      <p:ext uri="{BB962C8B-B14F-4D97-AF65-F5344CB8AC3E}">
        <p14:creationId xmlns:p14="http://schemas.microsoft.com/office/powerpoint/2010/main" val="3522992545"/>
      </p:ext>
    </p:extLst>
  </p:cSld>
  <p:clrMapOvr>
    <a:masterClrMapping/>
  </p:clrMapOvr>
  <p:transition spd="med">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Answer #4</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898841"/>
            <a:ext cx="8074836" cy="4842074"/>
          </a:xfrm>
        </p:spPr>
        <p:txBody>
          <a:bodyPr>
            <a:normAutofit/>
          </a:bodyPr>
          <a:lstStyle/>
          <a:p>
            <a:pPr marL="0" indent="0">
              <a:buNone/>
            </a:pPr>
            <a:r>
              <a:rPr lang="en-US" sz="2400" dirty="0"/>
              <a:t>	John has made repeated unwanted sexual comments toward Tom. From the perspective of federal standards and many states, this is a pervasive behavior that creates a hostile work environment. For states that do not employ the “severe or pervasive” standard, a reasonable person is likely to agree this pattern of conduct creates a hostile work environment.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0C019B0B-58E3-274D-F76D-0830948E6252}"/>
              </a:ext>
            </a:extLst>
          </p:cNvPr>
          <p:cNvPicPr>
            <a:picLocks noChangeAspect="1"/>
          </p:cNvPicPr>
          <p:nvPr/>
        </p:nvPicPr>
        <p:blipFill>
          <a:blip r:embed="rId2"/>
          <a:stretch>
            <a:fillRect/>
          </a:stretch>
        </p:blipFill>
        <p:spPr>
          <a:xfrm>
            <a:off x="341389" y="1142197"/>
            <a:ext cx="1164437" cy="1158340"/>
          </a:xfrm>
          <a:prstGeom prst="rect">
            <a:avLst/>
          </a:prstGeom>
        </p:spPr>
      </p:pic>
    </p:spTree>
    <p:extLst>
      <p:ext uri="{BB962C8B-B14F-4D97-AF65-F5344CB8AC3E}">
        <p14:creationId xmlns:p14="http://schemas.microsoft.com/office/powerpoint/2010/main" val="1466401645"/>
      </p:ext>
    </p:extLst>
  </p:cSld>
  <p:clrMapOvr>
    <a:masterClrMapping/>
  </p:clrMapOvr>
  <p:transition spd="med">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Question #5</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464995" y="1566817"/>
            <a:ext cx="8074836" cy="4842074"/>
          </a:xfrm>
        </p:spPr>
        <p:txBody>
          <a:bodyPr>
            <a:normAutofit/>
          </a:bodyPr>
          <a:lstStyle/>
          <a:p>
            <a:pPr marL="0" indent="0">
              <a:buNone/>
            </a:pPr>
            <a:r>
              <a:rPr lang="en-US" sz="2400" dirty="0"/>
              <a:t>Does it make any legal difference if Tom is actually gay or not? </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0657427"/>
      </p:ext>
    </p:extLst>
  </p:cSld>
  <p:clrMapOvr>
    <a:masterClrMapping/>
  </p:clrMapOvr>
  <p:transition spd="med">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CD9EB-EEFC-5174-6730-47999618FD31}"/>
              </a:ext>
            </a:extLst>
          </p:cNvPr>
          <p:cNvSpPr>
            <a:spLocks noGrp="1"/>
          </p:cNvSpPr>
          <p:nvPr>
            <p:ph type="title"/>
          </p:nvPr>
        </p:nvSpPr>
        <p:spPr>
          <a:xfrm>
            <a:off x="892546" y="215250"/>
            <a:ext cx="7358907" cy="787032"/>
          </a:xfrm>
        </p:spPr>
        <p:txBody>
          <a:bodyPr/>
          <a:lstStyle/>
          <a:p>
            <a:r>
              <a:rPr lang="en-US" sz="3200" dirty="0"/>
              <a:t>Answer #5</a:t>
            </a:r>
          </a:p>
        </p:txBody>
      </p:sp>
      <p:sp>
        <p:nvSpPr>
          <p:cNvPr id="3" name="Content Placeholder 2">
            <a:extLst>
              <a:ext uri="{FF2B5EF4-FFF2-40B4-BE49-F238E27FC236}">
                <a16:creationId xmlns:a16="http://schemas.microsoft.com/office/drawing/2014/main" id="{9FECB5C6-5D7A-A5C8-83AD-E99363F963F7}"/>
              </a:ext>
            </a:extLst>
          </p:cNvPr>
          <p:cNvSpPr>
            <a:spLocks noGrp="1"/>
          </p:cNvSpPr>
          <p:nvPr>
            <p:ph idx="1"/>
          </p:nvPr>
        </p:nvSpPr>
        <p:spPr>
          <a:xfrm>
            <a:off x="534581" y="2015926"/>
            <a:ext cx="8074836" cy="4842074"/>
          </a:xfrm>
        </p:spPr>
        <p:txBody>
          <a:bodyPr>
            <a:normAutofit/>
          </a:bodyPr>
          <a:lstStyle/>
          <a:p>
            <a:pPr marL="0" indent="0">
              <a:buNone/>
            </a:pPr>
            <a:r>
              <a:rPr lang="en-US" sz="2400" dirty="0"/>
              <a:t>	No., The law prohibits discrimination based on a person’s actual or perceived sexual orientation, as well as harassment based on gender stereotypes.</a:t>
            </a:r>
          </a:p>
        </p:txBody>
      </p:sp>
      <p:sp>
        <p:nvSpPr>
          <p:cNvPr id="5" name="Slide Number Placeholder 4">
            <a:extLst>
              <a:ext uri="{FF2B5EF4-FFF2-40B4-BE49-F238E27FC236}">
                <a16:creationId xmlns:a16="http://schemas.microsoft.com/office/drawing/2014/main" id="{D38F08CA-6F10-E41E-B196-1B7057928E5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2DCB9D3A-3E07-605E-96EC-63EB698BB30F}"/>
              </a:ext>
            </a:extLst>
          </p:cNvPr>
          <p:cNvPicPr>
            <a:picLocks noChangeAspect="1"/>
          </p:cNvPicPr>
          <p:nvPr/>
        </p:nvPicPr>
        <p:blipFill>
          <a:blip r:embed="rId2"/>
          <a:stretch>
            <a:fillRect/>
          </a:stretch>
        </p:blipFill>
        <p:spPr>
          <a:xfrm>
            <a:off x="310327" y="1323172"/>
            <a:ext cx="1164437" cy="1158340"/>
          </a:xfrm>
          <a:prstGeom prst="rect">
            <a:avLst/>
          </a:prstGeom>
        </p:spPr>
      </p:pic>
    </p:spTree>
    <p:extLst>
      <p:ext uri="{BB962C8B-B14F-4D97-AF65-F5344CB8AC3E}">
        <p14:creationId xmlns:p14="http://schemas.microsoft.com/office/powerpoint/2010/main" val="447830913"/>
      </p:ext>
    </p:extLst>
  </p:cSld>
  <p:clrMapOvr>
    <a:masterClrMapping/>
  </p:clrMapOvr>
  <p:transition spd="med">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53E07D-D22F-C90F-1E3D-EA9B16333E0A}"/>
              </a:ext>
            </a:extLst>
          </p:cNvPr>
          <p:cNvSpPr>
            <a:spLocks noGrp="1"/>
          </p:cNvSpPr>
          <p:nvPr>
            <p:ph type="title"/>
          </p:nvPr>
        </p:nvSpPr>
        <p:spPr/>
        <p:txBody>
          <a:bodyPr/>
          <a:lstStyle/>
          <a:p>
            <a:r>
              <a:rPr lang="en-US" dirty="0"/>
              <a:t>Raising Concerns</a:t>
            </a:r>
          </a:p>
        </p:txBody>
      </p:sp>
      <p:sp>
        <p:nvSpPr>
          <p:cNvPr id="3" name="Content Placeholder 2">
            <a:extLst>
              <a:ext uri="{FF2B5EF4-FFF2-40B4-BE49-F238E27FC236}">
                <a16:creationId xmlns:a16="http://schemas.microsoft.com/office/drawing/2014/main" id="{3682913F-20ED-BCE0-9FC8-A384E3751542}"/>
              </a:ext>
            </a:extLst>
          </p:cNvPr>
          <p:cNvSpPr>
            <a:spLocks noGrp="1"/>
          </p:cNvSpPr>
          <p:nvPr>
            <p:ph sz="half" idx="1"/>
          </p:nvPr>
        </p:nvSpPr>
        <p:spPr/>
        <p:txBody>
          <a:bodyPr>
            <a:normAutofit/>
          </a:bodyPr>
          <a:lstStyle/>
          <a:p>
            <a:pPr marL="0" indent="0">
              <a:buNone/>
            </a:pPr>
            <a:r>
              <a:rPr lang="en-US" sz="1600" b="1" dirty="0"/>
              <a:t>If you have a concern or something does not feel right, speak up.</a:t>
            </a:r>
          </a:p>
          <a:p>
            <a:r>
              <a:rPr lang="en-US" sz="1600" b="0" i="0" u="none" strike="noStrike" baseline="0" dirty="0">
                <a:solidFill>
                  <a:srgbClr val="373535"/>
                </a:solidFill>
                <a:latin typeface="BentonSans"/>
              </a:rPr>
              <a:t>You can report your concern by either speaking to someone or putting it in writing, through any of the following channels.</a:t>
            </a:r>
          </a:p>
          <a:p>
            <a:pPr lvl="1"/>
            <a:r>
              <a:rPr lang="en-US" sz="1300" b="0" i="0" u="none" strike="noStrike" baseline="0" dirty="0">
                <a:solidFill>
                  <a:srgbClr val="373535"/>
                </a:solidFill>
                <a:latin typeface="BentonSans"/>
              </a:rPr>
              <a:t>Your supervisor</a:t>
            </a:r>
          </a:p>
          <a:p>
            <a:pPr lvl="1"/>
            <a:r>
              <a:rPr lang="en-US" sz="1300" b="0" i="0" u="none" strike="noStrike" baseline="0" dirty="0">
                <a:solidFill>
                  <a:srgbClr val="373535"/>
                </a:solidFill>
                <a:latin typeface="BentonSans"/>
              </a:rPr>
              <a:t>A company leader</a:t>
            </a:r>
          </a:p>
          <a:p>
            <a:pPr lvl="1"/>
            <a:r>
              <a:rPr lang="en-US" sz="1300" b="0" i="0" u="none" strike="noStrike" baseline="0" dirty="0">
                <a:solidFill>
                  <a:srgbClr val="373535"/>
                </a:solidFill>
                <a:latin typeface="BentonSans Light"/>
              </a:rPr>
              <a:t>Your </a:t>
            </a:r>
            <a:r>
              <a:rPr lang="en-US" sz="1300" b="0" i="0" u="none" strike="noStrike" baseline="0" dirty="0">
                <a:solidFill>
                  <a:srgbClr val="373535"/>
                </a:solidFill>
                <a:latin typeface="BentonSans"/>
              </a:rPr>
              <a:t>Human Resources Department</a:t>
            </a:r>
          </a:p>
          <a:p>
            <a:pPr lvl="1"/>
            <a:r>
              <a:rPr lang="en-US" sz="1300" b="0" i="0" u="none" strike="noStrike" baseline="0" dirty="0">
                <a:solidFill>
                  <a:srgbClr val="373535"/>
                </a:solidFill>
                <a:latin typeface="BentonSans"/>
              </a:rPr>
              <a:t>Your group’s or RPM’s Legal and Compliance Department – </a:t>
            </a:r>
            <a:r>
              <a:rPr lang="en-US" sz="1300" b="0" i="0" u="none" strike="noStrike" baseline="0" dirty="0">
                <a:solidFill>
                  <a:srgbClr val="21467B"/>
                </a:solidFill>
                <a:latin typeface="BentonSans"/>
                <a:hlinkClick r:id="rId2"/>
              </a:rPr>
              <a:t>compliance@rpminc.com</a:t>
            </a:r>
            <a:endParaRPr lang="en-US" sz="1300" b="0" i="0" u="none" strike="noStrike" baseline="0" dirty="0">
              <a:solidFill>
                <a:srgbClr val="21467B"/>
              </a:solidFill>
              <a:latin typeface="BentonSans"/>
            </a:endParaRPr>
          </a:p>
          <a:p>
            <a:pPr lvl="1"/>
            <a:r>
              <a:rPr lang="en-US" sz="1300" b="1" i="0" u="none" strike="noStrike" baseline="0" dirty="0">
                <a:solidFill>
                  <a:srgbClr val="373535"/>
                </a:solidFill>
                <a:latin typeface="BentonSans"/>
              </a:rPr>
              <a:t>RPM’s Hotline </a:t>
            </a:r>
            <a:r>
              <a:rPr lang="en-US" sz="1300" b="0" i="0" u="none" strike="noStrike" baseline="0" dirty="0">
                <a:solidFill>
                  <a:srgbClr val="373535"/>
                </a:solidFill>
                <a:latin typeface="BentonSans"/>
              </a:rPr>
              <a:t>– phone numbers can be found at </a:t>
            </a:r>
            <a:r>
              <a:rPr lang="en-US" sz="1300" b="0" i="0" u="none" strike="noStrike" baseline="0" dirty="0">
                <a:solidFill>
                  <a:srgbClr val="21467B"/>
                </a:solidFill>
                <a:latin typeface="BentonSans"/>
                <a:hlinkClick r:id="rId3"/>
              </a:rPr>
              <a:t>www.rpminc.com/hotline</a:t>
            </a:r>
            <a:r>
              <a:rPr lang="en-US" sz="1300" b="0" i="0" u="none" strike="noStrike" baseline="0" dirty="0">
                <a:solidFill>
                  <a:srgbClr val="373535"/>
                </a:solidFill>
                <a:latin typeface="BentonSans"/>
              </a:rPr>
              <a:t>, or you can file an online report at </a:t>
            </a:r>
            <a:r>
              <a:rPr lang="en-US" sz="1300" b="0" i="0" u="none" strike="noStrike" baseline="0" dirty="0">
                <a:solidFill>
                  <a:srgbClr val="21467B"/>
                </a:solidFill>
                <a:latin typeface="BentonSans"/>
                <a:hlinkClick r:id="rId4"/>
              </a:rPr>
              <a:t>https://iwf.tnwgrc.com/rpminternational</a:t>
            </a:r>
            <a:r>
              <a:rPr lang="en-US" sz="1300" b="0" i="0" u="none" strike="noStrike" baseline="0" dirty="0">
                <a:solidFill>
                  <a:srgbClr val="373535"/>
                </a:solidFill>
                <a:latin typeface="BentonSans"/>
              </a:rPr>
              <a:t>.</a:t>
            </a:r>
          </a:p>
          <a:p>
            <a:r>
              <a:rPr lang="en-US" sz="1600" b="0" i="0" u="none" strike="noStrike" baseline="0" dirty="0">
                <a:solidFill>
                  <a:srgbClr val="373535"/>
                </a:solidFill>
                <a:latin typeface="BentonSans"/>
              </a:rPr>
              <a:t>RPM’s Hotline is operated by an independent third-party service. Unless local law prohibits anonymous reporting, you do not have to provide your identity unless you choose to do so.</a:t>
            </a:r>
          </a:p>
        </p:txBody>
      </p:sp>
      <p:pic>
        <p:nvPicPr>
          <p:cNvPr id="6" name="Content Placeholder 5" descr="A road with a sign on it and a sunset in the background&#10;&#10;Description automatically generated with low confidence">
            <a:extLst>
              <a:ext uri="{FF2B5EF4-FFF2-40B4-BE49-F238E27FC236}">
                <a16:creationId xmlns:a16="http://schemas.microsoft.com/office/drawing/2014/main" id="{D70D50F0-47A2-338F-D7A1-19A2FB767C40}"/>
              </a:ext>
            </a:extLst>
          </p:cNvPr>
          <p:cNvPicPr>
            <a:picLocks noGrp="1" noChangeAspect="1"/>
          </p:cNvPicPr>
          <p:nvPr>
            <p:ph sz="half" idx="2"/>
          </p:nvPr>
        </p:nvPicPr>
        <p:blipFill>
          <a:blip r:embed="rId5"/>
          <a:stretch>
            <a:fillRect/>
          </a:stretch>
        </p:blipFill>
        <p:spPr>
          <a:xfrm>
            <a:off x="5009603" y="3185159"/>
            <a:ext cx="3886200" cy="2914650"/>
          </a:xfrm>
        </p:spPr>
      </p:pic>
      <p:sp>
        <p:nvSpPr>
          <p:cNvPr id="7" name="Content Placeholder 2">
            <a:extLst>
              <a:ext uri="{FF2B5EF4-FFF2-40B4-BE49-F238E27FC236}">
                <a16:creationId xmlns:a16="http://schemas.microsoft.com/office/drawing/2014/main" id="{611BF96A-E8E0-F22F-EFC8-E68128F8F9C3}"/>
              </a:ext>
            </a:extLst>
          </p:cNvPr>
          <p:cNvSpPr txBox="1">
            <a:spLocks/>
          </p:cNvSpPr>
          <p:nvPr/>
        </p:nvSpPr>
        <p:spPr>
          <a:xfrm>
            <a:off x="5009603" y="1508760"/>
            <a:ext cx="3886200" cy="1463480"/>
          </a:xfrm>
          <a:prstGeom prst="rect">
            <a:avLst/>
          </a:prstGeom>
        </p:spPr>
        <p:txBody>
          <a:bodyPr vert="horz" lIns="91440" tIns="45720" rIns="91440" bIns="45720" rtlCol="0">
            <a:normAutofit/>
          </a:bodyPr>
          <a:lst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b="0" i="0" u="none" strike="noStrike" baseline="0" dirty="0">
                <a:solidFill>
                  <a:srgbClr val="373535"/>
                </a:solidFill>
                <a:latin typeface="BentonSans"/>
              </a:rPr>
              <a:t>All good-faith reports are taken seriously and carefully reviewed. Reports of any violations of the law, our Values &amp; Expectations of 168, or unethical behavior will be promptly and appropriately investigated.</a:t>
            </a:r>
          </a:p>
          <a:p>
            <a:pPr marL="0" indent="0">
              <a:buFont typeface="Arial" panose="020B0604020202020204" pitchFamily="34" charset="0"/>
              <a:buNone/>
            </a:pPr>
            <a:endParaRPr lang="en-US" sz="1600" dirty="0">
              <a:solidFill>
                <a:srgbClr val="21467B"/>
              </a:solidFill>
              <a:latin typeface="BentonSans"/>
            </a:endParaRP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834208117"/>
      </p:ext>
    </p:extLst>
  </p:cSld>
  <p:clrMapOvr>
    <a:masterClrMapping/>
  </p:clrMapOvr>
  <p:transition spd="med">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rotWithShape="1">
          <a:blip r:embed="rId3"/>
          <a:srcRect l="10663" t="1445" r="10663"/>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6F7D5242-B4D2-1646-89B9-3E03D1D54BCE}"/>
              </a:ext>
            </a:extLst>
          </p:cNvPr>
          <p:cNvCxnSpPr>
            <a:cxnSpLocks/>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a:cxnSpLocks/>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1243358" y="5388316"/>
            <a:ext cx="6657284" cy="1077159"/>
          </a:xfrm>
        </p:spPr>
        <p:txBody>
          <a:bodyPr>
            <a:noAutofit/>
          </a:bodyPr>
          <a:lstStyle/>
          <a:p>
            <a:pPr>
              <a:lnSpc>
                <a:spcPct val="100000"/>
              </a:lnSpc>
              <a:spcBef>
                <a:spcPts val="0"/>
              </a:spcBef>
            </a:pPr>
            <a:r>
              <a:rPr lang="en-US" sz="3200" dirty="0">
                <a:solidFill>
                  <a:schemeClr val="bg1"/>
                </a:solidFill>
              </a:rPr>
              <a:t>Questions? </a:t>
            </a: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a:ea typeface="+mn-ea"/>
                <a:cs typeface="+mn-cs"/>
              </a:rPr>
              <a:t>THE VALUE OF 168</a:t>
            </a:r>
          </a:p>
        </p:txBody>
      </p:sp>
      <p:cxnSp>
        <p:nvCxnSpPr>
          <p:cNvPr id="10" name="Straight Connector 9">
            <a:extLst>
              <a:ext uri="{FF2B5EF4-FFF2-40B4-BE49-F238E27FC236}">
                <a16:creationId xmlns:a16="http://schemas.microsoft.com/office/drawing/2014/main" id="{D81D68DD-7A28-DF47-ABBD-D69140B4E63D}"/>
              </a:ext>
            </a:extLst>
          </p:cNvPr>
          <p:cNvCxnSpPr>
            <a:cxnSpLocks/>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cxnSpLocks/>
            <a:stCxn id="15" idx="0"/>
          </p:cNvCxnSpPr>
          <p:nvPr/>
        </p:nvCxnSpPr>
        <p:spPr>
          <a:xfrm>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22959" y="182880"/>
            <a:ext cx="7381415" cy="729882"/>
          </a:xfrm>
        </p:spPr>
        <p:txBody>
          <a:bodyPr anchor="ctr">
            <a:normAutofit/>
          </a:bodyPr>
          <a:lstStyle/>
          <a:p>
            <a:r>
              <a:rPr lang="en-US" sz="2400" dirty="0"/>
              <a:t>Hostile Work Environment  </a:t>
            </a:r>
          </a:p>
        </p:txBody>
      </p:sp>
      <p:pic>
        <p:nvPicPr>
          <p:cNvPr id="6" name="Content Placeholder 5" descr="A person holding a person's knee&#10;&#10;Description automatically generated">
            <a:extLst>
              <a:ext uri="{FF2B5EF4-FFF2-40B4-BE49-F238E27FC236}">
                <a16:creationId xmlns:a16="http://schemas.microsoft.com/office/drawing/2014/main" id="{55F23332-F26D-B465-A5B1-1893AA76920A}"/>
              </a:ext>
            </a:extLst>
          </p:cNvPr>
          <p:cNvPicPr>
            <a:picLocks noGrp="1" noChangeAspect="1"/>
          </p:cNvPicPr>
          <p:nvPr>
            <p:ph sz="half" idx="1"/>
          </p:nvPr>
        </p:nvPicPr>
        <p:blipFill>
          <a:blip r:embed="rId2"/>
          <a:stretch>
            <a:fillRect/>
          </a:stretch>
        </p:blipFill>
        <p:spPr>
          <a:xfrm>
            <a:off x="4398963" y="1857375"/>
            <a:ext cx="5235574" cy="3926681"/>
          </a:xfrm>
        </p:spPr>
      </p:pic>
      <p:sp>
        <p:nvSpPr>
          <p:cNvPr id="5" name="Slide Number Placeholder 4" hidden="1">
            <a:extLst>
              <a:ext uri="{FF2B5EF4-FFF2-40B4-BE49-F238E27FC236}">
                <a16:creationId xmlns:a16="http://schemas.microsoft.com/office/drawing/2014/main" id="{6B5E798E-E98B-594A-481B-A6F6CEBC33CF}"/>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12" name="Content Placeholder 2">
            <a:extLst>
              <a:ext uri="{FF2B5EF4-FFF2-40B4-BE49-F238E27FC236}">
                <a16:creationId xmlns:a16="http://schemas.microsoft.com/office/drawing/2014/main" id="{6733A76C-FE5D-27B0-BAC6-30EFD94B74E6}"/>
              </a:ext>
            </a:extLst>
          </p:cNvPr>
          <p:cNvGraphicFramePr>
            <a:graphicFrameLocks noGrp="1"/>
          </p:cNvGraphicFramePr>
          <p:nvPr>
            <p:ph sz="half" idx="2"/>
            <p:extLst>
              <p:ext uri="{D42A27DB-BD31-4B8C-83A1-F6EECF244321}">
                <p14:modId xmlns:p14="http://schemas.microsoft.com/office/powerpoint/2010/main" val="1315381423"/>
              </p:ext>
            </p:extLst>
          </p:nvPr>
        </p:nvGraphicFramePr>
        <p:xfrm>
          <a:off x="627466" y="1539696"/>
          <a:ext cx="4287434" cy="51354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01329782"/>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22959" y="182880"/>
            <a:ext cx="7381415" cy="729882"/>
          </a:xfrm>
        </p:spPr>
        <p:txBody>
          <a:bodyPr anchor="ctr">
            <a:normAutofit/>
          </a:bodyPr>
          <a:lstStyle/>
          <a:p>
            <a:r>
              <a:rPr lang="en-US"/>
              <a:t>Four Elements of Hostile Work Environment  </a:t>
            </a:r>
          </a:p>
        </p:txBody>
      </p:sp>
      <p:graphicFrame>
        <p:nvGraphicFramePr>
          <p:cNvPr id="7" name="Content Placeholder 2">
            <a:extLst>
              <a:ext uri="{FF2B5EF4-FFF2-40B4-BE49-F238E27FC236}">
                <a16:creationId xmlns:a16="http://schemas.microsoft.com/office/drawing/2014/main" id="{AA526E01-8D87-C011-D027-23DF77712686}"/>
              </a:ext>
            </a:extLst>
          </p:cNvPr>
          <p:cNvGraphicFramePr>
            <a:graphicFrameLocks noGrp="1"/>
          </p:cNvGraphicFramePr>
          <p:nvPr>
            <p:ph sz="half" idx="2"/>
            <p:extLst>
              <p:ext uri="{D42A27DB-BD31-4B8C-83A1-F6EECF244321}">
                <p14:modId xmlns:p14="http://schemas.microsoft.com/office/powerpoint/2010/main" val="3950878818"/>
              </p:ext>
            </p:extLst>
          </p:nvPr>
        </p:nvGraphicFramePr>
        <p:xfrm>
          <a:off x="411479" y="1040586"/>
          <a:ext cx="8321041" cy="56345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6B5E798E-E98B-594A-481B-A6F6CEBC33CF}"/>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4337260"/>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22960" y="182880"/>
            <a:ext cx="7358907" cy="787032"/>
          </a:xfrm>
        </p:spPr>
        <p:txBody>
          <a:bodyPr anchor="ctr">
            <a:normAutofit/>
          </a:bodyPr>
          <a:lstStyle/>
          <a:p>
            <a:r>
              <a:rPr lang="en-US"/>
              <a:t>Quid Pro Quo Harassment   </a:t>
            </a:r>
          </a:p>
        </p:txBody>
      </p:sp>
      <p:sp>
        <p:nvSpPr>
          <p:cNvPr id="9" name="Date Placeholder 3">
            <a:extLst>
              <a:ext uri="{FF2B5EF4-FFF2-40B4-BE49-F238E27FC236}">
                <a16:creationId xmlns:a16="http://schemas.microsoft.com/office/drawing/2014/main" id="{CAB4A4F6-F9B3-7B95-62AC-41838AF4C949}"/>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13" name="Slide Number Placeholder 4">
            <a:extLst>
              <a:ext uri="{FF2B5EF4-FFF2-40B4-BE49-F238E27FC236}">
                <a16:creationId xmlns:a16="http://schemas.microsoft.com/office/drawing/2014/main" id="{40CDEE2A-3EDF-56F2-2E7B-E81D4D2A6DEF}"/>
              </a:ext>
            </a:extLst>
          </p:cNvPr>
          <p:cNvSpPr>
            <a:spLocks noGrp="1"/>
          </p:cNvSpPr>
          <p:nvPr>
            <p:ph type="sldNum" sz="quarter" idx="4"/>
          </p:nvPr>
        </p:nvSpPr>
        <p:spPr>
          <a:xfrm>
            <a:off x="8663437" y="6558353"/>
            <a:ext cx="480561" cy="365125"/>
          </a:xfrm>
        </p:spPr>
        <p:txBody>
          <a:bodyPr/>
          <a:lstStyle/>
          <a:p>
            <a:pPr>
              <a:spcAft>
                <a:spcPts val="600"/>
              </a:spcAft>
            </a:pPr>
            <a:fld id="{BB5FC4A1-A2DE-4EB5-9A46-57D39B4235EC}" type="slidenum">
              <a:rPr lang="en-US" smtClean="0"/>
              <a:pPr>
                <a:spcAft>
                  <a:spcPts val="600"/>
                </a:spcAft>
              </a:pPr>
              <a:t>17</a:t>
            </a:fld>
            <a:endParaRPr lang="en-US"/>
          </a:p>
        </p:txBody>
      </p:sp>
      <p:sp>
        <p:nvSpPr>
          <p:cNvPr id="5" name="Slide Number Placeholder 4" hidden="1">
            <a:extLst>
              <a:ext uri="{FF2B5EF4-FFF2-40B4-BE49-F238E27FC236}">
                <a16:creationId xmlns:a16="http://schemas.microsoft.com/office/drawing/2014/main" id="{6B5E798E-E98B-594A-481B-A6F6CEBC33CF}"/>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12" name="Content Placeholder 2">
            <a:extLst>
              <a:ext uri="{FF2B5EF4-FFF2-40B4-BE49-F238E27FC236}">
                <a16:creationId xmlns:a16="http://schemas.microsoft.com/office/drawing/2014/main" id="{9C2900C5-D71B-A933-9CF3-996F19299A20}"/>
              </a:ext>
            </a:extLst>
          </p:cNvPr>
          <p:cNvGraphicFramePr>
            <a:graphicFrameLocks noGrp="1"/>
          </p:cNvGraphicFramePr>
          <p:nvPr>
            <p:ph idx="1"/>
            <p:extLst>
              <p:ext uri="{D42A27DB-BD31-4B8C-83A1-F6EECF244321}">
                <p14:modId xmlns:p14="http://schemas.microsoft.com/office/powerpoint/2010/main" val="1146296877"/>
              </p:ext>
            </p:extLst>
          </p:nvPr>
        </p:nvGraphicFramePr>
        <p:xfrm>
          <a:off x="432562" y="1508759"/>
          <a:ext cx="8074836" cy="50495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669475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22959" y="182880"/>
            <a:ext cx="7381415" cy="729882"/>
          </a:xfrm>
        </p:spPr>
        <p:txBody>
          <a:bodyPr anchor="ctr">
            <a:normAutofit/>
          </a:bodyPr>
          <a:lstStyle/>
          <a:p>
            <a:r>
              <a:rPr lang="en-US"/>
              <a:t>State-Specific Requirement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sz="half" idx="1"/>
          </p:nvPr>
        </p:nvSpPr>
        <p:spPr>
          <a:xfrm>
            <a:off x="628650" y="1508760"/>
            <a:ext cx="4552950" cy="5135424"/>
          </a:xfrm>
        </p:spPr>
        <p:txBody>
          <a:bodyPr>
            <a:normAutofit/>
          </a:bodyPr>
          <a:lstStyle/>
          <a:p>
            <a:r>
              <a:rPr lang="en-US" sz="2200" b="0" i="0" dirty="0">
                <a:effectLst/>
              </a:rPr>
              <a:t>Several states have specific training requirements written into state law. </a:t>
            </a:r>
          </a:p>
          <a:p>
            <a:r>
              <a:rPr lang="en-US" sz="2200" b="1" i="0" dirty="0">
                <a:effectLst/>
              </a:rPr>
              <a:t>If you are employed in, or your primary work location is in, one of the states listed below, there is required information that you need to know.</a:t>
            </a:r>
            <a:r>
              <a:rPr lang="en-US" sz="2200" b="0" i="0" dirty="0">
                <a:effectLst/>
              </a:rPr>
              <a:t> </a:t>
            </a:r>
          </a:p>
          <a:p>
            <a:r>
              <a:rPr lang="en-US" sz="2200" dirty="0"/>
              <a:t>California, Connecticut, Delaware, D.C., Illinois, Maine, Maryland, New York, Oregon, Washington State</a:t>
            </a:r>
          </a:p>
          <a:p>
            <a:r>
              <a:rPr lang="en-US" sz="2200" b="0" i="0" dirty="0">
                <a:effectLst/>
              </a:rPr>
              <a:t>Additionally, if you have work relationships with employees in any of these states, there is required information that you need to know. </a:t>
            </a:r>
          </a:p>
          <a:p>
            <a:endParaRPr lang="en-US" sz="2200" dirty="0"/>
          </a:p>
        </p:txBody>
      </p:sp>
      <p:pic>
        <p:nvPicPr>
          <p:cNvPr id="6" name="Content Placeholder 5" descr="A map of the united states of america&#10;&#10;Description automatically generated">
            <a:extLst>
              <a:ext uri="{FF2B5EF4-FFF2-40B4-BE49-F238E27FC236}">
                <a16:creationId xmlns:a16="http://schemas.microsoft.com/office/drawing/2014/main" id="{619414B9-E3D1-72F8-A8EA-60A507560912}"/>
              </a:ext>
            </a:extLst>
          </p:cNvPr>
          <p:cNvPicPr>
            <a:picLocks noGrp="1" noChangeAspect="1"/>
          </p:cNvPicPr>
          <p:nvPr>
            <p:ph sz="half" idx="2"/>
          </p:nvPr>
        </p:nvPicPr>
        <p:blipFill>
          <a:blip r:embed="rId2"/>
          <a:stretch>
            <a:fillRect/>
          </a:stretch>
        </p:blipFill>
        <p:spPr>
          <a:xfrm>
            <a:off x="5352455" y="1355725"/>
            <a:ext cx="3440906" cy="4587875"/>
          </a:xfrm>
        </p:spPr>
      </p:pic>
      <p:sp>
        <p:nvSpPr>
          <p:cNvPr id="5" name="Slide Number Placeholder 4" hidden="1">
            <a:extLst>
              <a:ext uri="{FF2B5EF4-FFF2-40B4-BE49-F238E27FC236}">
                <a16:creationId xmlns:a16="http://schemas.microsoft.com/office/drawing/2014/main" id="{6B5E798E-E98B-594A-481B-A6F6CEBC33CF}"/>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5714621"/>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209550"/>
            <a:ext cx="7358907" cy="787032"/>
          </a:xfrm>
        </p:spPr>
        <p:txBody>
          <a:bodyPr/>
          <a:lstStyle/>
          <a:p>
            <a:r>
              <a:rPr lang="en-US" sz="2800" dirty="0"/>
              <a:t>California – Protected Classe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p:txBody>
          <a:bodyPr>
            <a:normAutofit/>
          </a:bodyPr>
          <a:lstStyle/>
          <a:p>
            <a:pPr marL="0" indent="0" algn="l">
              <a:buNone/>
            </a:pPr>
            <a:r>
              <a:rPr lang="en-US" sz="2000" b="0" i="0" dirty="0">
                <a:effectLst/>
                <a:latin typeface="Lato" panose="020F0502020204030203" pitchFamily="34" charset="0"/>
              </a:rPr>
              <a:t>California Law prohibits </a:t>
            </a:r>
            <a:r>
              <a:rPr lang="en-US" sz="2000" b="1" i="0" dirty="0">
                <a:effectLst/>
                <a:latin typeface="Lato" panose="020F0502020204030203" pitchFamily="34" charset="0"/>
              </a:rPr>
              <a:t>discrimination</a:t>
            </a:r>
            <a:r>
              <a:rPr lang="en-US" sz="2000" b="0" i="0" dirty="0">
                <a:effectLst/>
                <a:latin typeface="Lato" panose="020F0502020204030203" pitchFamily="34" charset="0"/>
              </a:rPr>
              <a:t> and </a:t>
            </a:r>
            <a:r>
              <a:rPr lang="en-US" sz="2000" b="1" i="0" dirty="0">
                <a:effectLst/>
                <a:latin typeface="Lato" panose="020F0502020204030203" pitchFamily="34" charset="0"/>
              </a:rPr>
              <a:t>harassment</a:t>
            </a:r>
            <a:r>
              <a:rPr lang="en-US" sz="2000" b="0" i="0" dirty="0">
                <a:effectLst/>
                <a:latin typeface="Lato" panose="020F0502020204030203" pitchFamily="34" charset="0"/>
              </a:rPr>
              <a:t> of employees based on your actual or perceived:</a:t>
            </a:r>
          </a:p>
          <a:p>
            <a:pPr algn="l">
              <a:buFont typeface="Arial" panose="020B0604020202020204" pitchFamily="34" charset="0"/>
              <a:buChar char="•"/>
            </a:pPr>
            <a:r>
              <a:rPr lang="en-US" sz="2000" b="0" i="0" dirty="0">
                <a:effectLst/>
                <a:latin typeface="Lato" panose="020F0502020204030203" pitchFamily="34" charset="0"/>
              </a:rPr>
              <a:t>Race (including traits historically associated with race, such as hair styles and texture)</a:t>
            </a:r>
          </a:p>
          <a:p>
            <a:pPr algn="l">
              <a:buFont typeface="Arial" panose="020B0604020202020204" pitchFamily="34" charset="0"/>
              <a:buChar char="•"/>
            </a:pPr>
            <a:r>
              <a:rPr lang="en-US" sz="2000" b="0" i="0" dirty="0">
                <a:effectLst/>
                <a:latin typeface="Lato" panose="020F0502020204030203" pitchFamily="34" charset="0"/>
              </a:rPr>
              <a:t>Color</a:t>
            </a:r>
          </a:p>
          <a:p>
            <a:pPr algn="l">
              <a:buFont typeface="Arial" panose="020B0604020202020204" pitchFamily="34" charset="0"/>
              <a:buChar char="•"/>
            </a:pPr>
            <a:r>
              <a:rPr lang="en-US" sz="2000" b="0" i="0" dirty="0">
                <a:effectLst/>
                <a:latin typeface="Lato" panose="020F0502020204030203" pitchFamily="34" charset="0"/>
              </a:rPr>
              <a:t>Ancestry or National Origin (including language use or possession of a driver's license issued to persons unable to prove their presence in the U.S. is authorized under federal law)</a:t>
            </a:r>
          </a:p>
          <a:p>
            <a:pPr algn="l">
              <a:buFont typeface="Arial" panose="020B0604020202020204" pitchFamily="34" charset="0"/>
              <a:buChar char="•"/>
            </a:pPr>
            <a:r>
              <a:rPr lang="en-US" sz="2000" b="0" i="0" dirty="0">
                <a:effectLst/>
                <a:latin typeface="Lato" panose="020F0502020204030203" pitchFamily="34" charset="0"/>
              </a:rPr>
              <a:t>Religion or Creed (including requirements to accommodate religious beliefs, such as religious dress or grooming practices) </a:t>
            </a:r>
          </a:p>
          <a:p>
            <a:pPr algn="l">
              <a:buFont typeface="Arial" panose="020B0604020202020204" pitchFamily="34" charset="0"/>
              <a:buChar char="•"/>
            </a:pPr>
            <a:r>
              <a:rPr lang="en-US" sz="2000" b="0" i="0" dirty="0">
                <a:effectLst/>
                <a:latin typeface="Lato" panose="020F0502020204030203" pitchFamily="34" charset="0"/>
              </a:rPr>
              <a:t>Age (40 or older)</a:t>
            </a:r>
          </a:p>
          <a:p>
            <a:pPr algn="l">
              <a:buFont typeface="Arial" panose="020B0604020202020204" pitchFamily="34" charset="0"/>
              <a:buChar char="•"/>
            </a:pPr>
            <a:r>
              <a:rPr lang="en-US" sz="2000" b="0" i="0" dirty="0">
                <a:effectLst/>
                <a:latin typeface="Lato" panose="020F0502020204030203" pitchFamily="34" charset="0"/>
              </a:rPr>
              <a:t>Sex (including pregnancy, childbirth, breastfeeding, and/or related medical conditions)</a:t>
            </a:r>
          </a:p>
          <a:p>
            <a:endParaRPr lang="en-US" sz="2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77737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F5FBC-3037-4D3F-8933-E634C55924D7}"/>
              </a:ext>
            </a:extLst>
          </p:cNvPr>
          <p:cNvSpPr>
            <a:spLocks noGrp="1"/>
          </p:cNvSpPr>
          <p:nvPr>
            <p:ph type="title"/>
          </p:nvPr>
        </p:nvSpPr>
        <p:spPr>
          <a:xfrm>
            <a:off x="790526" y="113650"/>
            <a:ext cx="7358907" cy="787032"/>
          </a:xfrm>
        </p:spPr>
        <p:txBody>
          <a:bodyPr/>
          <a:lstStyle/>
          <a:p>
            <a:r>
              <a:rPr lang="en-US" sz="2200" b="1" dirty="0"/>
              <a:t>Why Harassment, Sexual Harassment, and Abusive Conduct Prevention? </a:t>
            </a:r>
          </a:p>
        </p:txBody>
      </p:sp>
      <p:sp>
        <p:nvSpPr>
          <p:cNvPr id="3" name="Content Placeholder 2">
            <a:extLst>
              <a:ext uri="{FF2B5EF4-FFF2-40B4-BE49-F238E27FC236}">
                <a16:creationId xmlns:a16="http://schemas.microsoft.com/office/drawing/2014/main" id="{393FB37D-6618-4F34-953E-969C30912F90}"/>
              </a:ext>
            </a:extLst>
          </p:cNvPr>
          <p:cNvSpPr>
            <a:spLocks noGrp="1"/>
          </p:cNvSpPr>
          <p:nvPr>
            <p:ph idx="1"/>
          </p:nvPr>
        </p:nvSpPr>
        <p:spPr>
          <a:xfrm>
            <a:off x="432561" y="1806471"/>
            <a:ext cx="8074836" cy="4842074"/>
          </a:xfrm>
        </p:spPr>
        <p:txBody>
          <a:bodyPr>
            <a:normAutofit/>
          </a:bodyPr>
          <a:lstStyle/>
          <a:p>
            <a:r>
              <a:rPr lang="en-US" sz="2400" b="0" i="0" dirty="0">
                <a:effectLst/>
                <a:latin typeface="Calibri" panose="020F0502020204030204" pitchFamily="34" charset="0"/>
                <a:cs typeface="Calibri" panose="020F0502020204030204" pitchFamily="34" charset="0"/>
              </a:rPr>
              <a:t>RPM has an obligation to provide a harassment-free work environment (</a:t>
            </a:r>
            <a:r>
              <a:rPr lang="en-US" sz="2400" b="0" i="0" dirty="0">
                <a:effectLst/>
                <a:latin typeface="Calibri" panose="020F0502020204030204" pitchFamily="34" charset="0"/>
                <a:cs typeface="Calibri" panose="020F0502020204030204" pitchFamily="34" charset="0"/>
                <a:hlinkClick r:id="rId3"/>
              </a:rPr>
              <a:t>RPM’s Non-Harassment Policy</a:t>
            </a:r>
            <a:r>
              <a:rPr lang="en-US" sz="2400" b="0" i="0" dirty="0">
                <a:effectLst/>
                <a:latin typeface="Calibri" panose="020F0502020204030204" pitchFamily="34" charset="0"/>
                <a:cs typeface="Calibri" panose="020F0502020204030204" pitchFamily="34" charset="0"/>
              </a:rPr>
              <a:t>).</a:t>
            </a:r>
          </a:p>
          <a:p>
            <a:pPr algn="just">
              <a:buFont typeface="Arial" panose="020B0604020202020204" pitchFamily="34" charset="0"/>
              <a:buChar char="•"/>
            </a:pPr>
            <a:r>
              <a:rPr lang="en-US" sz="2400" b="0" i="0" dirty="0">
                <a:effectLst/>
                <a:latin typeface="Calibri" panose="020F0502020204030204" pitchFamily="34" charset="0"/>
                <a:cs typeface="Calibri" panose="020F0502020204030204" pitchFamily="34" charset="0"/>
              </a:rPr>
              <a:t>Harassment based on protected classes, for example race, gender, national origin, age, etc., is a form of discrimination under state and federal laws.</a:t>
            </a:r>
          </a:p>
          <a:p>
            <a:pPr algn="just">
              <a:buFont typeface="Arial" panose="020B0604020202020204" pitchFamily="34" charset="0"/>
              <a:buChar char="•"/>
            </a:pPr>
            <a:r>
              <a:rPr lang="en-US" sz="2400" b="0" i="0" dirty="0">
                <a:effectLst/>
                <a:latin typeface="Calibri" panose="020F0502020204030204" pitchFamily="34" charset="0"/>
                <a:cs typeface="Calibri" panose="020F0502020204030204" pitchFamily="34" charset="0"/>
              </a:rPr>
              <a:t>Laws apply to employers, employment agencies, labor groups, the government, etc. </a:t>
            </a:r>
          </a:p>
          <a:p>
            <a:pPr algn="just">
              <a:buFont typeface="Arial" panose="020B0604020202020204" pitchFamily="34" charset="0"/>
              <a:buChar char="•"/>
            </a:pPr>
            <a:r>
              <a:rPr lang="en-US" sz="2400" b="0" i="0" dirty="0">
                <a:effectLst/>
                <a:latin typeface="Calibri" panose="020F0502020204030204" pitchFamily="34" charset="0"/>
                <a:cs typeface="Calibri" panose="020F0502020204030204" pitchFamily="34" charset="0"/>
              </a:rPr>
              <a:t>Abusive Conduct = Workplace Bullying</a:t>
            </a:r>
          </a:p>
          <a:p>
            <a:pPr algn="just">
              <a:buFont typeface="Arial" panose="020B0604020202020204" pitchFamily="34" charset="0"/>
              <a:buChar char="•"/>
            </a:pPr>
            <a:r>
              <a:rPr lang="en-US" sz="2400" b="0" i="0" dirty="0">
                <a:effectLst/>
                <a:latin typeface="Calibri" panose="020F0502020204030204" pitchFamily="34" charset="0"/>
                <a:cs typeface="Calibri" panose="020F0502020204030204" pitchFamily="34" charset="0"/>
              </a:rPr>
              <a:t>"An ounce of prevention is worth a pound of cure.” </a:t>
            </a:r>
          </a:p>
          <a:p>
            <a:endParaRPr lang="en-US" dirty="0"/>
          </a:p>
        </p:txBody>
      </p:sp>
      <p:sp>
        <p:nvSpPr>
          <p:cNvPr id="5" name="Slide Number Placeholder 4">
            <a:extLst>
              <a:ext uri="{FF2B5EF4-FFF2-40B4-BE49-F238E27FC236}">
                <a16:creationId xmlns:a16="http://schemas.microsoft.com/office/drawing/2014/main" id="{4272448E-1CAA-4EF1-A9C1-52547A35B05F}"/>
              </a:ext>
            </a:extLst>
          </p:cNvPr>
          <p:cNvSpPr>
            <a:spLocks noGrp="1"/>
          </p:cNvSpPr>
          <p:nvPr>
            <p:ph type="sldNum" sz="quarter" idx="4"/>
          </p:nvPr>
        </p:nvSpPr>
        <p:spPr/>
        <p:txBody>
          <a:bodyPr/>
          <a:lstStyle/>
          <a:p>
            <a:fld id="{BB5FC4A1-A2DE-4EB5-9A46-57D39B4235EC}" type="slidenum">
              <a:rPr lang="en-US" smtClean="0"/>
              <a:pPr/>
              <a:t>2</a:t>
            </a:fld>
            <a:endParaRPr lang="en-US"/>
          </a:p>
        </p:txBody>
      </p:sp>
    </p:spTree>
    <p:extLst>
      <p:ext uri="{BB962C8B-B14F-4D97-AF65-F5344CB8AC3E}">
        <p14:creationId xmlns:p14="http://schemas.microsoft.com/office/powerpoint/2010/main" val="1520262264"/>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00051" y="257175"/>
            <a:ext cx="7358907" cy="787032"/>
          </a:xfrm>
        </p:spPr>
        <p:txBody>
          <a:bodyPr/>
          <a:lstStyle/>
          <a:p>
            <a:r>
              <a:rPr lang="en-US" sz="2800" dirty="0"/>
              <a:t>California – Protected Classe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2" y="1508760"/>
            <a:ext cx="8508238" cy="4842074"/>
          </a:xfrm>
        </p:spPr>
        <p:txBody>
          <a:bodyPr>
            <a:normAutofit/>
          </a:bodyPr>
          <a:lstStyle/>
          <a:p>
            <a:pPr marL="0" indent="0">
              <a:buNone/>
            </a:pPr>
            <a:r>
              <a:rPr lang="en-US" sz="2400" b="0" i="0" dirty="0">
                <a:effectLst/>
              </a:rPr>
              <a:t>In addition, California Law also prohibits </a:t>
            </a:r>
            <a:r>
              <a:rPr lang="en-US" sz="2400" b="1" i="0" dirty="0">
                <a:effectLst/>
              </a:rPr>
              <a:t>discrimination</a:t>
            </a:r>
            <a:r>
              <a:rPr lang="en-US" sz="2400" b="0" i="0" dirty="0">
                <a:effectLst/>
              </a:rPr>
              <a:t> and </a:t>
            </a:r>
            <a:r>
              <a:rPr lang="en-US" sz="2400" b="1" i="0" dirty="0">
                <a:effectLst/>
              </a:rPr>
              <a:t>harassment</a:t>
            </a:r>
            <a:r>
              <a:rPr lang="en-US" sz="2400" b="0" i="0" dirty="0">
                <a:effectLst/>
              </a:rPr>
              <a:t> of employees based on your actual or perceived:</a:t>
            </a:r>
          </a:p>
          <a:p>
            <a:pPr algn="l">
              <a:buFont typeface="Arial" panose="020B0604020202020204" pitchFamily="34" charset="0"/>
              <a:buChar char="•"/>
            </a:pPr>
            <a:r>
              <a:rPr lang="en-US" sz="2400" b="0" i="0" dirty="0">
                <a:effectLst/>
              </a:rPr>
              <a:t>Marital status</a:t>
            </a:r>
          </a:p>
          <a:p>
            <a:pPr algn="l">
              <a:buFont typeface="Arial" panose="020B0604020202020204" pitchFamily="34" charset="0"/>
              <a:buChar char="•"/>
            </a:pPr>
            <a:r>
              <a:rPr lang="en-US" sz="2400" b="0" i="0" dirty="0">
                <a:effectLst/>
              </a:rPr>
              <a:t>Medical condition (including genetic characteristics, HIV/AIDS, cancer or a record or history of cancer)</a:t>
            </a:r>
          </a:p>
          <a:p>
            <a:pPr algn="l">
              <a:buFont typeface="Arial" panose="020B0604020202020204" pitchFamily="34" charset="0"/>
              <a:buChar char="•"/>
            </a:pPr>
            <a:r>
              <a:rPr lang="en-US" sz="2400" b="0" i="0" dirty="0">
                <a:effectLst/>
              </a:rPr>
              <a:t>Disability (mental or physical)</a:t>
            </a:r>
          </a:p>
          <a:p>
            <a:pPr algn="l">
              <a:buFont typeface="Arial" panose="020B0604020202020204" pitchFamily="34" charset="0"/>
              <a:buChar char="•"/>
            </a:pPr>
            <a:r>
              <a:rPr lang="en-US" sz="2400" b="0" i="0" dirty="0">
                <a:effectLst/>
              </a:rPr>
              <a:t>Military or veteran status</a:t>
            </a:r>
          </a:p>
          <a:p>
            <a:pPr algn="l">
              <a:buFont typeface="Arial" panose="020B0604020202020204" pitchFamily="34" charset="0"/>
              <a:buChar char="•"/>
            </a:pPr>
            <a:r>
              <a:rPr lang="en-US" sz="2400" b="0" i="0" dirty="0">
                <a:effectLst/>
              </a:rPr>
              <a:t>Sexual orientation</a:t>
            </a:r>
          </a:p>
          <a:p>
            <a:pPr algn="l">
              <a:buFont typeface="Arial" panose="020B0604020202020204" pitchFamily="34" charset="0"/>
              <a:buChar char="•"/>
            </a:pPr>
            <a:r>
              <a:rPr lang="en-US" sz="2400" b="0" i="0" dirty="0">
                <a:effectLst/>
              </a:rPr>
              <a:t>Gender, gender identity, or gender expression</a:t>
            </a:r>
          </a:p>
          <a:p>
            <a:pPr algn="l">
              <a:buFont typeface="Arial" panose="020B0604020202020204" pitchFamily="34" charset="0"/>
              <a:buChar char="•"/>
            </a:pPr>
            <a:r>
              <a:rPr lang="en-US" sz="2400" b="0" i="0" dirty="0">
                <a:effectLst/>
              </a:rPr>
              <a:t>Genetic information</a:t>
            </a:r>
          </a:p>
          <a:p>
            <a:endParaRPr lang="en-US" sz="2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742571"/>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209550"/>
            <a:ext cx="7358907" cy="787032"/>
          </a:xfrm>
        </p:spPr>
        <p:txBody>
          <a:bodyPr/>
          <a:lstStyle/>
          <a:p>
            <a:r>
              <a:rPr lang="en-US" sz="2800" dirty="0"/>
              <a:t>California Law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2" y="1508760"/>
            <a:ext cx="8508238" cy="4842074"/>
          </a:xfrm>
        </p:spPr>
        <p:txBody>
          <a:bodyPr>
            <a:normAutofit fontScale="85000" lnSpcReduction="10000"/>
          </a:bodyPr>
          <a:lstStyle/>
          <a:p>
            <a:r>
              <a:rPr lang="en-US" sz="2800" dirty="0"/>
              <a:t>Could be interpreted to protect other characteristics not listed above, such as political activities or affiliations, status as a victim of crime, etc. For details, please visit </a:t>
            </a:r>
            <a:r>
              <a:rPr lang="en-US" sz="2800" dirty="0">
                <a:hlinkClick r:id="rId2"/>
              </a:rPr>
              <a:t>www.dfeh.ca.gov</a:t>
            </a:r>
            <a:r>
              <a:rPr lang="en-US" sz="2800" dirty="0"/>
              <a:t>.</a:t>
            </a:r>
          </a:p>
          <a:p>
            <a:r>
              <a:rPr lang="en-US" sz="2800" dirty="0"/>
              <a:t>Prohibits retaliation against a person who opposes, reports, or assists another person to oppose unlawful discrimination.</a:t>
            </a:r>
          </a:p>
          <a:p>
            <a:r>
              <a:rPr lang="en-US" sz="2800" dirty="0"/>
              <a:t>Prohibits discrimination against someone because they identify or are perceived as transgender or gender non-conforming.</a:t>
            </a:r>
          </a:p>
          <a:p>
            <a:r>
              <a:rPr lang="en-US" sz="2800" dirty="0"/>
              <a:t>Prohibits harassment and discrimination against employees, applicants, unpaid interns, volunteers, and independent contractors by any persons.</a:t>
            </a:r>
          </a:p>
          <a:p>
            <a:r>
              <a:rPr lang="en-US" sz="2800" dirty="0"/>
              <a:t>Requires employers to take all reasonable steps to prevent harassment and discrimination.</a:t>
            </a:r>
          </a:p>
          <a:p>
            <a:r>
              <a:rPr lang="en-US" sz="2800" dirty="0"/>
              <a:t>Prohibits other types of discrimination in the workplace. For details, please visit </a:t>
            </a:r>
            <a:r>
              <a:rPr lang="en-US" sz="2800" dirty="0">
                <a:hlinkClick r:id="rId2"/>
              </a:rPr>
              <a:t>www.dfeh.ca.gov</a:t>
            </a:r>
            <a:r>
              <a:rPr lang="en-US" sz="2800" dirty="0"/>
              <a:t>.</a:t>
            </a:r>
          </a:p>
          <a:p>
            <a:endParaRPr lang="en-US" sz="2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009376"/>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Connecticut – Fair Employment Practices Act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800" dirty="0"/>
              <a:t>Prohibits discrimination and harassment of employees based on:</a:t>
            </a:r>
          </a:p>
          <a:p>
            <a:r>
              <a:rPr lang="en-US" sz="1800" dirty="0"/>
              <a:t>Race</a:t>
            </a:r>
          </a:p>
          <a:p>
            <a:r>
              <a:rPr lang="en-US" sz="1800" dirty="0"/>
              <a:t>Color</a:t>
            </a:r>
          </a:p>
          <a:p>
            <a:r>
              <a:rPr lang="en-US" sz="1800" dirty="0"/>
              <a:t>Religious creed (including the requirements to accommodate religious beliefs)</a:t>
            </a:r>
          </a:p>
          <a:p>
            <a:r>
              <a:rPr lang="en-US" sz="1800" dirty="0"/>
              <a:t>Age</a:t>
            </a:r>
          </a:p>
          <a:p>
            <a:r>
              <a:rPr lang="en-US" sz="1800" dirty="0"/>
              <a:t>Sex (including pregnancy, childbearing capacity, sterilization, fertility, or related medical conditions)</a:t>
            </a:r>
          </a:p>
          <a:p>
            <a:r>
              <a:rPr lang="en-US" sz="1800" dirty="0"/>
              <a:t>Marital status</a:t>
            </a:r>
          </a:p>
          <a:p>
            <a:r>
              <a:rPr lang="en-US" sz="1800" dirty="0"/>
              <a:t>National origin or ancestry</a:t>
            </a:r>
          </a:p>
          <a:p>
            <a:r>
              <a:rPr lang="en-US" sz="1800" dirty="0"/>
              <a:t>Past or present history of mental disability</a:t>
            </a:r>
          </a:p>
          <a:p>
            <a:r>
              <a:rPr lang="en-US" sz="1800" dirty="0"/>
              <a:t>Learning disability or physical disability</a:t>
            </a:r>
          </a:p>
          <a:p>
            <a:r>
              <a:rPr lang="en-US" sz="1800" dirty="0"/>
              <a:t>Sexual orientation</a:t>
            </a:r>
          </a:p>
          <a:p>
            <a:r>
              <a:rPr lang="en-US" sz="1800" dirty="0"/>
              <a:t>Gender identity or expression</a:t>
            </a:r>
          </a:p>
          <a:p>
            <a:r>
              <a:rPr lang="en-US" sz="1800" dirty="0"/>
              <a:t>Genetic information</a:t>
            </a:r>
          </a:p>
          <a:p>
            <a:pPr marL="0" indent="0">
              <a:buNone/>
            </a:pPr>
            <a:r>
              <a:rPr lang="en-US" sz="1800" dirty="0"/>
              <a:t>Protects against retaliation.</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343118"/>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81001" y="194313"/>
            <a:ext cx="7358907" cy="787032"/>
          </a:xfrm>
        </p:spPr>
        <p:txBody>
          <a:bodyPr/>
          <a:lstStyle/>
          <a:p>
            <a:r>
              <a:rPr lang="en-US" sz="2800" dirty="0"/>
              <a:t>Connecticut – Sexual Harassment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2400" dirty="0"/>
              <a:t>The Fair Employment Practices Act prohibits sexual harassment.</a:t>
            </a:r>
          </a:p>
          <a:p>
            <a:pPr marL="0" indent="0">
              <a:buNone/>
            </a:pPr>
            <a:r>
              <a:rPr lang="en-US" sz="2400" dirty="0"/>
              <a:t>Sexual harassment is any unwelcome sexual advance or request for sexual favors or any conduct of a sexual nature that:</a:t>
            </a:r>
          </a:p>
          <a:p>
            <a:r>
              <a:rPr lang="en-US" sz="2400" dirty="0"/>
              <a:t>Affects a term or condition of employment,</a:t>
            </a:r>
          </a:p>
          <a:p>
            <a:r>
              <a:rPr lang="en-US" sz="2400" dirty="0"/>
              <a:t>Affects an employment decision,</a:t>
            </a:r>
          </a:p>
          <a:p>
            <a:r>
              <a:rPr lang="en-US" sz="2400" dirty="0"/>
              <a:t>Substantially interferes with work performance, or</a:t>
            </a:r>
          </a:p>
          <a:p>
            <a:r>
              <a:rPr lang="en-US" sz="2400" dirty="0"/>
              <a:t>Creates an intimidating, hostile, or offensive working environment.</a:t>
            </a:r>
          </a:p>
          <a:p>
            <a:pPr marL="0" indent="0">
              <a:buNone/>
            </a:pPr>
            <a:r>
              <a:rPr lang="en-US" sz="2400" dirty="0"/>
              <a:t>Sexual harassment is not dependent on the gender of the harasser or victim and includes same sex and opposite sex harassment.</a:t>
            </a:r>
          </a:p>
          <a:p>
            <a:pPr marL="0" indent="0">
              <a:buNone/>
            </a:pPr>
            <a:r>
              <a:rPr lang="en-US" sz="2400" dirty="0"/>
              <a:t>Remedies include but are not limited to cease and desist orders; hiring, promotion, or reinstatement; compensatory damages and back pay; and liability for civil and criminal penalties.</a:t>
            </a:r>
          </a:p>
          <a:p>
            <a:pPr marL="0" indent="0">
              <a:buNone/>
            </a:pPr>
            <a:endParaRPr lang="en-US" sz="18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562199"/>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algn="l"/>
            <a:r>
              <a:rPr lang="en-US" sz="1400" b="0" i="0" dirty="0">
                <a:solidFill>
                  <a:srgbClr val="FFFFFF"/>
                </a:solidFill>
                <a:effectLst/>
              </a:rPr>
              <a:t>In addition to your employer’s internal complaint process, you can contact:</a:t>
            </a:r>
          </a:p>
          <a:p>
            <a:pPr marL="0" indent="0" algn="l">
              <a:buNone/>
            </a:pPr>
            <a:r>
              <a:rPr lang="en-US" sz="3200" b="1" i="0" dirty="0">
                <a:effectLst/>
              </a:rPr>
              <a:t>Connecticut Commission on Human Rights and Opportunities</a:t>
            </a:r>
            <a:endParaRPr lang="en-US" sz="3200" b="0" i="0" dirty="0">
              <a:effectLst/>
            </a:endParaRPr>
          </a:p>
          <a:p>
            <a:pPr algn="l"/>
            <a:r>
              <a:rPr lang="en-US" sz="3200" b="0" i="0" dirty="0">
                <a:effectLst/>
              </a:rPr>
              <a:t>25 Sigourney Street, Hartford, Connecticut 06106</a:t>
            </a:r>
          </a:p>
          <a:p>
            <a:pPr algn="l"/>
            <a:r>
              <a:rPr lang="en-US" sz="3200" b="0" i="0" dirty="0">
                <a:effectLst/>
              </a:rPr>
              <a:t>Phone: (860) 541-3400</a:t>
            </a:r>
          </a:p>
          <a:p>
            <a:pPr algn="l"/>
            <a:r>
              <a:rPr lang="en-US" sz="3200" b="0" i="0" dirty="0">
                <a:effectLst/>
              </a:rPr>
              <a:t>Fax: (860) 246-5419</a:t>
            </a:r>
          </a:p>
          <a:p>
            <a:pPr algn="l"/>
            <a:r>
              <a:rPr lang="en-US" sz="3200" b="0" i="0" u="sng" dirty="0">
                <a:effectLst/>
                <a:hlinkClick r:id="rId2">
                  <a:extLst>
                    <a:ext uri="{A12FA001-AC4F-418D-AE19-62706E023703}">
                      <ahyp:hlinkClr xmlns:ahyp="http://schemas.microsoft.com/office/drawing/2018/hyperlinkcolor" val="tx"/>
                    </a:ext>
                  </a:extLst>
                </a:hlinkClick>
              </a:rPr>
              <a:t>http://www.ct.gov/chro</a:t>
            </a:r>
            <a:endParaRPr lang="en-US" sz="3200" b="0" i="0" dirty="0">
              <a:effectLst/>
            </a:endParaRPr>
          </a:p>
          <a:p>
            <a:pPr marL="0" indent="0">
              <a:buNone/>
            </a:pPr>
            <a:endParaRPr lang="en-US" sz="36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0647326"/>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194313"/>
            <a:ext cx="7358907" cy="787032"/>
          </a:xfrm>
        </p:spPr>
        <p:txBody>
          <a:bodyPr/>
          <a:lstStyle/>
          <a:p>
            <a:r>
              <a:rPr lang="en-US" sz="2800" dirty="0"/>
              <a:t>Delaware – Sexual Harassment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r>
              <a:rPr lang="en-US" sz="2200" dirty="0"/>
              <a:t>The Delaware Discrimination in Employment Act (DDEA) prohibits discrimination in employment based on:</a:t>
            </a:r>
          </a:p>
          <a:p>
            <a:pPr lvl="1"/>
            <a:r>
              <a:rPr lang="en-US" dirty="0"/>
              <a:t>race; </a:t>
            </a:r>
          </a:p>
          <a:p>
            <a:pPr lvl="1"/>
            <a:r>
              <a:rPr lang="en-US" dirty="0"/>
              <a:t>marital status;</a:t>
            </a:r>
          </a:p>
          <a:p>
            <a:pPr lvl="1"/>
            <a:r>
              <a:rPr lang="en-US" dirty="0"/>
              <a:t>genetic information; </a:t>
            </a:r>
          </a:p>
          <a:p>
            <a:pPr lvl="1"/>
            <a:r>
              <a:rPr lang="en-US" dirty="0"/>
              <a:t>color; </a:t>
            </a:r>
          </a:p>
          <a:p>
            <a:pPr lvl="1"/>
            <a:r>
              <a:rPr lang="en-US" dirty="0"/>
              <a:t>age (40 and over);</a:t>
            </a:r>
          </a:p>
          <a:p>
            <a:pPr lvl="1"/>
            <a:r>
              <a:rPr lang="en-US" dirty="0"/>
              <a:t>religion, sex (including pregnancy);</a:t>
            </a:r>
          </a:p>
          <a:p>
            <a:pPr lvl="1"/>
            <a:r>
              <a:rPr lang="en-US" dirty="0"/>
              <a:t>sexual orientation; </a:t>
            </a:r>
          </a:p>
          <a:p>
            <a:pPr lvl="1"/>
            <a:r>
              <a:rPr lang="en-US" dirty="0"/>
              <a:t>gender identity; or </a:t>
            </a:r>
          </a:p>
          <a:p>
            <a:pPr lvl="1"/>
            <a:r>
              <a:rPr lang="en-US" dirty="0"/>
              <a:t>national origin.</a:t>
            </a:r>
          </a:p>
          <a:p>
            <a:r>
              <a:rPr lang="en-US" sz="2200" dirty="0"/>
              <a:t>The Act also prohibits employers from discriminating because an individual was the victim of domestic violence, a sexual offense, or stalking. Employers may not discriminate against an individual because of a reproductive health decision by the individual or because of the individual’s family responsibilities.</a:t>
            </a:r>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0140453"/>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Delaware – Gender Identity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354166" y="1796942"/>
            <a:ext cx="8435667" cy="4761411"/>
          </a:xfrm>
        </p:spPr>
        <p:txBody>
          <a:bodyPr>
            <a:noAutofit/>
          </a:bodyPr>
          <a:lstStyle/>
          <a:p>
            <a:r>
              <a:rPr lang="en-US" sz="2800" dirty="0"/>
              <a:t>The Act defines "gender identity" as a gender-related identity, appearance, expression, or behavior of a person, regardless of the person's assigned sex at birth. </a:t>
            </a:r>
          </a:p>
          <a:p>
            <a:pPr marL="0" indent="0">
              <a:buNone/>
            </a:pPr>
            <a:endParaRPr lang="en-US" sz="2800" dirty="0"/>
          </a:p>
          <a:p>
            <a:r>
              <a:rPr lang="en-US" sz="2800" dirty="0"/>
              <a:t>Under the law, gender identity may be demonstrated by consistent and uniform assertion of the gender identity or any other evidence that the gender identity is sincerely held as part of a person's core identity.</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4424045"/>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92546" y="194313"/>
            <a:ext cx="7358907" cy="787032"/>
          </a:xfrm>
        </p:spPr>
        <p:txBody>
          <a:bodyPr/>
          <a:lstStyle/>
          <a:p>
            <a:r>
              <a:rPr lang="en-US" sz="2800" dirty="0"/>
              <a:t>In addition to RPM’s internal </a:t>
            </a:r>
            <a:br>
              <a:rPr lang="en-US" sz="2800" dirty="0"/>
            </a:br>
            <a:r>
              <a:rPr lang="en-US" sz="2800" dirty="0"/>
              <a:t>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324203"/>
            <a:ext cx="8435667" cy="4761411"/>
          </a:xfrm>
        </p:spPr>
        <p:txBody>
          <a:bodyPr>
            <a:noAutofit/>
          </a:bodyPr>
          <a:lstStyle/>
          <a:p>
            <a:pPr marL="0" indent="0" algn="l">
              <a:buNone/>
            </a:pPr>
            <a:r>
              <a:rPr lang="en-US" sz="2000" b="0" i="0" dirty="0">
                <a:solidFill>
                  <a:srgbClr val="FFFFFF"/>
                </a:solidFill>
                <a:effectLst/>
                <a:latin typeface="Lato" panose="020F0502020204030203" pitchFamily="34" charset="0"/>
              </a:rPr>
              <a:t>u can contact:</a:t>
            </a:r>
            <a:endParaRPr lang="en-US" sz="2000" dirty="0"/>
          </a:p>
          <a:p>
            <a:pPr marL="0" indent="0">
              <a:buNone/>
            </a:pPr>
            <a:r>
              <a:rPr lang="en-US" sz="2000" dirty="0"/>
              <a:t>Delaware Department of Labor Office of Anti-Discrimination</a:t>
            </a:r>
          </a:p>
          <a:p>
            <a:pPr marL="0" indent="0">
              <a:buNone/>
            </a:pPr>
            <a:endParaRPr lang="en-US" sz="2000" dirty="0"/>
          </a:p>
          <a:p>
            <a:pPr marL="0" indent="0">
              <a:buNone/>
            </a:pPr>
            <a:r>
              <a:rPr lang="en-US" sz="2000" dirty="0"/>
              <a:t>New Castle County:</a:t>
            </a:r>
          </a:p>
          <a:p>
            <a:pPr marL="0" indent="0">
              <a:buNone/>
            </a:pPr>
            <a:r>
              <a:rPr lang="en-US" sz="2000" dirty="0"/>
              <a:t>4425 N. Market Street, 3rd Fl. </a:t>
            </a:r>
          </a:p>
          <a:p>
            <a:pPr marL="0" indent="0">
              <a:buNone/>
            </a:pPr>
            <a:r>
              <a:rPr lang="en-US" sz="2000" dirty="0"/>
              <a:t>Wilmington, DE 19802</a:t>
            </a:r>
          </a:p>
          <a:p>
            <a:pPr marL="0" indent="0">
              <a:buNone/>
            </a:pPr>
            <a:r>
              <a:rPr lang="en-US" sz="2000" dirty="0"/>
              <a:t>phone: (302) 761-8200</a:t>
            </a:r>
          </a:p>
          <a:p>
            <a:pPr marL="0" indent="0">
              <a:buNone/>
            </a:pPr>
            <a:endParaRPr lang="en-US" sz="2000" dirty="0"/>
          </a:p>
          <a:p>
            <a:pPr marL="0" indent="0">
              <a:buNone/>
            </a:pPr>
            <a:r>
              <a:rPr lang="en-US" sz="2000" dirty="0"/>
              <a:t>Kent/Sussex Counties:</a:t>
            </a:r>
          </a:p>
          <a:p>
            <a:pPr marL="0" indent="0">
              <a:buNone/>
            </a:pPr>
            <a:r>
              <a:rPr lang="en-US" sz="2000" dirty="0"/>
              <a:t>Blue Hen Corporate Center 655 S. Bay Road, Suite 2H </a:t>
            </a:r>
          </a:p>
          <a:p>
            <a:pPr marL="0" indent="0">
              <a:buNone/>
            </a:pPr>
            <a:r>
              <a:rPr lang="en-US" sz="2000" dirty="0"/>
              <a:t>Dover, DE 19901 </a:t>
            </a:r>
          </a:p>
          <a:p>
            <a:pPr marL="0" indent="0">
              <a:buNone/>
            </a:pPr>
            <a:r>
              <a:rPr lang="en-US" sz="2000" dirty="0"/>
              <a:t>phone: (302) 422-1134</a:t>
            </a:r>
          </a:p>
          <a:p>
            <a:pPr marL="0" indent="0">
              <a:buNone/>
            </a:pPr>
            <a:r>
              <a:rPr lang="en-US" sz="2000" dirty="0">
                <a:hlinkClick r:id="rId2"/>
              </a:rPr>
              <a:t>https://dia.delawareworks.com/discrimination/file-a-charge.php</a:t>
            </a:r>
            <a:endParaRPr lang="en-US" sz="2000" dirty="0"/>
          </a:p>
          <a:p>
            <a:pPr marL="0" indent="0">
              <a:buNone/>
            </a:pPr>
            <a:endParaRPr lang="en-US" sz="2000" dirty="0"/>
          </a:p>
          <a:p>
            <a:pPr marL="0" indent="0">
              <a:buNone/>
            </a:pP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6310374"/>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00051" y="194313"/>
            <a:ext cx="7358907" cy="787032"/>
          </a:xfrm>
        </p:spPr>
        <p:txBody>
          <a:bodyPr/>
          <a:lstStyle/>
          <a:p>
            <a:r>
              <a:rPr lang="en-US" sz="2800" dirty="0"/>
              <a:t>Washington, DC Law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354166" y="1796942"/>
            <a:ext cx="8435667" cy="4761411"/>
          </a:xfrm>
        </p:spPr>
        <p:txBody>
          <a:bodyPr>
            <a:noAutofit/>
          </a:bodyPr>
          <a:lstStyle/>
          <a:p>
            <a:r>
              <a:rPr lang="en-US" sz="2000" dirty="0"/>
              <a:t>Under the District of Columbia Human Rights Act, it is unlawful for an employer or employee in the District to create a hostile environment based on any protected characteristic covered in the law. Additionally, all employees are protected by Federal law, Title VII of the 1964 Civil Rights Act.</a:t>
            </a:r>
          </a:p>
          <a:p>
            <a:pPr marL="0" indent="0">
              <a:buNone/>
            </a:pPr>
            <a:endParaRPr lang="en-US" sz="2000" dirty="0"/>
          </a:p>
          <a:p>
            <a:r>
              <a:rPr lang="en-US" sz="2000" dirty="0"/>
              <a:t>DC Law 22-196, Tipped Wage Workers Fairness Amendment Act of 2018 requires harassment prevention training for employees working for tips in the hospitality industry (restaurants, bars, hotels), building maintenance, and security. </a:t>
            </a:r>
          </a:p>
          <a:p>
            <a:pPr marL="0" indent="0">
              <a:buNone/>
            </a:pPr>
            <a:endParaRPr lang="en-US" sz="2000" dirty="0"/>
          </a:p>
          <a:p>
            <a:r>
              <a:rPr lang="en-US" sz="2000" dirty="0"/>
              <a:t>Both City and Federal law protect anyone from retaliation who makes a complaint or participates in an investigation of a complaint of sexual harassment.</a:t>
            </a:r>
          </a:p>
          <a:p>
            <a:pPr marL="0" indent="0">
              <a:buNone/>
            </a:pPr>
            <a:endParaRPr lang="en-US" sz="18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984982"/>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Washington, DC  - Protected Classe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354166" y="1475204"/>
            <a:ext cx="8435667" cy="4761411"/>
          </a:xfrm>
        </p:spPr>
        <p:txBody>
          <a:bodyPr>
            <a:noAutofit/>
          </a:bodyPr>
          <a:lstStyle/>
          <a:p>
            <a:pPr marL="0" indent="0">
              <a:buNone/>
            </a:pPr>
            <a:r>
              <a:rPr lang="en-US" sz="1800" dirty="0"/>
              <a:t>The District of Columbia laws prohibit discrimination based on:</a:t>
            </a:r>
          </a:p>
          <a:p>
            <a:r>
              <a:rPr lang="en-US" sz="1600" dirty="0"/>
              <a:t>Race or color</a:t>
            </a:r>
          </a:p>
          <a:p>
            <a:r>
              <a:rPr lang="en-US" sz="1600" dirty="0"/>
              <a:t>National origin, ancestry, or ethnicity</a:t>
            </a:r>
          </a:p>
          <a:p>
            <a:r>
              <a:rPr lang="en-US" sz="1600" dirty="0"/>
              <a:t>Religion</a:t>
            </a:r>
          </a:p>
          <a:p>
            <a:r>
              <a:rPr lang="en-US" sz="1600" dirty="0"/>
              <a:t>Sex, gender, pregnancy and childbirth (and related medical conditions), breastfeeding, or reproductive health decisions</a:t>
            </a:r>
          </a:p>
          <a:p>
            <a:r>
              <a:rPr lang="en-US" sz="1600" dirty="0"/>
              <a:t>Age (18 years or older)</a:t>
            </a:r>
          </a:p>
          <a:p>
            <a:r>
              <a:rPr lang="en-US" sz="1600" dirty="0"/>
              <a:t>Marital status, domestic partnership, or familial status </a:t>
            </a:r>
          </a:p>
          <a:p>
            <a:r>
              <a:rPr lang="en-US" sz="1600" dirty="0"/>
              <a:t>Personal appearance</a:t>
            </a:r>
          </a:p>
          <a:p>
            <a:r>
              <a:rPr lang="en-US" sz="1600" dirty="0"/>
              <a:t>Sexual orientation, gender identity or expression</a:t>
            </a:r>
          </a:p>
          <a:p>
            <a:r>
              <a:rPr lang="en-US" sz="1600" dirty="0"/>
              <a:t>Family responsibilities</a:t>
            </a:r>
          </a:p>
          <a:p>
            <a:r>
              <a:rPr lang="en-US" sz="1600" dirty="0"/>
              <a:t>Political affiliation</a:t>
            </a:r>
          </a:p>
          <a:p>
            <a:r>
              <a:rPr lang="en-US" sz="1600" dirty="0"/>
              <a:t>Disability (including HIV/AIDS) or genetic information</a:t>
            </a:r>
          </a:p>
          <a:p>
            <a:r>
              <a:rPr lang="en-US" sz="1600" dirty="0"/>
              <a:t>Matriculation (school enrollment status)</a:t>
            </a:r>
          </a:p>
          <a:p>
            <a:r>
              <a:rPr lang="en-US" sz="1600" dirty="0"/>
              <a:t>Source of income, place of residence or business, or credit Information</a:t>
            </a:r>
          </a:p>
          <a:p>
            <a:r>
              <a:rPr lang="en-US" sz="1600" dirty="0"/>
              <a:t>Status as a victim of an intrafamily offense, or status as a victim or family member of a victim of domestic violence, a sexual offense, or stalking</a:t>
            </a:r>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456362"/>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aper with a check mark and a pencil">
            <a:extLst>
              <a:ext uri="{FF2B5EF4-FFF2-40B4-BE49-F238E27FC236}">
                <a16:creationId xmlns:a16="http://schemas.microsoft.com/office/drawing/2014/main" id="{14B941B7-3E85-935B-EB67-3BC34470A4D9}"/>
              </a:ext>
            </a:extLst>
          </p:cNvPr>
          <p:cNvPicPr>
            <a:picLocks noChangeAspect="1"/>
          </p:cNvPicPr>
          <p:nvPr/>
        </p:nvPicPr>
        <p:blipFill>
          <a:blip r:embed="rId3">
            <a:duotone>
              <a:prstClr val="black"/>
              <a:schemeClr val="accent2">
                <a:tint val="45000"/>
                <a:satMod val="400000"/>
              </a:schemeClr>
            </a:duotone>
            <a:extLst>
              <a:ext uri="{837473B0-CC2E-450A-ABE3-18F120FF3D39}">
                <a1611:picAttrSrcUrl xmlns:a1611="http://schemas.microsoft.com/office/drawing/2016/11/main" r:id="rId4"/>
              </a:ext>
            </a:extLst>
          </a:blip>
          <a:stretch>
            <a:fillRect/>
          </a:stretch>
        </p:blipFill>
        <p:spPr>
          <a:xfrm>
            <a:off x="5554154" y="1901825"/>
            <a:ext cx="3349563" cy="3435450"/>
          </a:xfrm>
          <a:prstGeom prst="rect">
            <a:avLst/>
          </a:prstGeom>
        </p:spPr>
      </p:pic>
      <p:sp>
        <p:nvSpPr>
          <p:cNvPr id="2" name="Title 1">
            <a:extLst>
              <a:ext uri="{FF2B5EF4-FFF2-40B4-BE49-F238E27FC236}">
                <a16:creationId xmlns:a16="http://schemas.microsoft.com/office/drawing/2014/main" id="{21FF5FBC-3037-4D3F-8933-E634C55924D7}"/>
              </a:ext>
            </a:extLst>
          </p:cNvPr>
          <p:cNvSpPr>
            <a:spLocks noGrp="1"/>
          </p:cNvSpPr>
          <p:nvPr>
            <p:ph type="title"/>
          </p:nvPr>
        </p:nvSpPr>
        <p:spPr/>
        <p:txBody>
          <a:bodyPr/>
          <a:lstStyle/>
          <a:p>
            <a:r>
              <a:rPr lang="en-US" sz="3200" b="1" dirty="0"/>
              <a:t>Objectives </a:t>
            </a:r>
          </a:p>
        </p:txBody>
      </p:sp>
      <p:sp>
        <p:nvSpPr>
          <p:cNvPr id="3" name="Content Placeholder 2">
            <a:extLst>
              <a:ext uri="{FF2B5EF4-FFF2-40B4-BE49-F238E27FC236}">
                <a16:creationId xmlns:a16="http://schemas.microsoft.com/office/drawing/2014/main" id="{393FB37D-6618-4F34-953E-969C30912F90}"/>
              </a:ext>
            </a:extLst>
          </p:cNvPr>
          <p:cNvSpPr>
            <a:spLocks noGrp="1"/>
          </p:cNvSpPr>
          <p:nvPr>
            <p:ph idx="1"/>
          </p:nvPr>
        </p:nvSpPr>
        <p:spPr>
          <a:xfrm>
            <a:off x="696964" y="1901825"/>
            <a:ext cx="4857190" cy="5049593"/>
          </a:xfrm>
        </p:spPr>
        <p:txBody>
          <a:bodyPr/>
          <a:lstStyle/>
          <a:p>
            <a:r>
              <a:rPr lang="en-US" sz="2800" dirty="0"/>
              <a:t>Recognize harassment</a:t>
            </a:r>
          </a:p>
          <a:p>
            <a:r>
              <a:rPr lang="en-US" sz="2800" dirty="0"/>
              <a:t>Prevent harassment</a:t>
            </a:r>
          </a:p>
          <a:p>
            <a:r>
              <a:rPr lang="en-US" sz="2800" dirty="0"/>
              <a:t>Recognize and report abusive conduct </a:t>
            </a:r>
          </a:p>
          <a:p>
            <a:r>
              <a:rPr lang="en-US" sz="2800" dirty="0"/>
              <a:t>Rights and responsibilities if misconduct occurs </a:t>
            </a:r>
          </a:p>
          <a:p>
            <a:r>
              <a:rPr lang="en-US" sz="2800" dirty="0"/>
              <a:t>Resources available </a:t>
            </a:r>
          </a:p>
          <a:p>
            <a:r>
              <a:rPr lang="en-US" sz="2800" dirty="0"/>
              <a:t>Practice in scenarios </a:t>
            </a:r>
          </a:p>
        </p:txBody>
      </p:sp>
      <p:sp>
        <p:nvSpPr>
          <p:cNvPr id="5" name="Slide Number Placeholder 4">
            <a:extLst>
              <a:ext uri="{FF2B5EF4-FFF2-40B4-BE49-F238E27FC236}">
                <a16:creationId xmlns:a16="http://schemas.microsoft.com/office/drawing/2014/main" id="{4272448E-1CAA-4EF1-A9C1-52547A35B05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790838"/>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81001" y="194313"/>
            <a:ext cx="7358907" cy="787032"/>
          </a:xfrm>
        </p:spPr>
        <p:txBody>
          <a:bodyPr/>
          <a:lstStyle/>
          <a:p>
            <a:r>
              <a:rPr lang="en-US" sz="2400" dirty="0"/>
              <a:t>Washington, DC  - Harassment of Employees and Non-employee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r>
              <a:rPr lang="en-US" sz="2000" dirty="0"/>
              <a:t>The laws of the District of Columbia and the Civil Rights Act of 1964 protect employees and non-employees from sexual harassment.</a:t>
            </a:r>
          </a:p>
          <a:p>
            <a:pPr lvl="1"/>
            <a:r>
              <a:rPr lang="en-US" sz="1700" dirty="0"/>
              <a:t>Employees include co-workers, supervisors, and managers. </a:t>
            </a:r>
          </a:p>
          <a:p>
            <a:pPr lvl="1"/>
            <a:r>
              <a:rPr lang="en-US" sz="1700" dirty="0"/>
              <a:t>Non-employees include persons who are not employees, but are directly performing services for an employer, such as contractors, consultants, or gig workers.</a:t>
            </a:r>
          </a:p>
          <a:p>
            <a:endParaRPr lang="en-US" sz="2000" dirty="0"/>
          </a:p>
          <a:p>
            <a:r>
              <a:rPr lang="en-US" sz="2000" dirty="0"/>
              <a:t>Victims of sexual harassment can include Employees and Non-employees when sexually harassed by other Employees or Non-employees.</a:t>
            </a:r>
          </a:p>
          <a:p>
            <a:pPr marL="0" indent="0">
              <a:buNone/>
            </a:pPr>
            <a:endParaRPr lang="en-US" sz="2000" dirty="0"/>
          </a:p>
          <a:p>
            <a:r>
              <a:rPr lang="en-US" sz="2000" dirty="0"/>
              <a:t>Employees or Non-employees who witness the sexual harassment may also be victims. </a:t>
            </a:r>
          </a:p>
          <a:p>
            <a:pPr marL="0" indent="0">
              <a:buNone/>
            </a:pPr>
            <a:endParaRPr lang="en-US" sz="2000" dirty="0"/>
          </a:p>
          <a:p>
            <a:r>
              <a:rPr lang="en-US" sz="2000" dirty="0"/>
              <a:t>Employers are responsible for sexual harassment perpetrated by their Employees and Non-employees against other Employees and Non-employees.</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2526441"/>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92546" y="194313"/>
            <a:ext cx="7358907" cy="787032"/>
          </a:xfrm>
        </p:spPr>
        <p:txBody>
          <a:bodyPr/>
          <a:lstStyle/>
          <a:p>
            <a:r>
              <a:rPr lang="en-US" sz="2400" dirty="0"/>
              <a:t>Washington, DC  - Harassment of Customers </a:t>
            </a:r>
            <a:br>
              <a:rPr lang="en-US" sz="2400" dirty="0"/>
            </a:br>
            <a:r>
              <a:rPr lang="en-US" sz="2400" dirty="0"/>
              <a:t>and Patron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354165" y="1676540"/>
            <a:ext cx="8435667" cy="4761411"/>
          </a:xfrm>
        </p:spPr>
        <p:txBody>
          <a:bodyPr>
            <a:noAutofit/>
          </a:bodyPr>
          <a:lstStyle/>
          <a:p>
            <a:r>
              <a:rPr lang="en-US" sz="2800" dirty="0"/>
              <a:t>The Civil Rights Act of 1964 protects Customers and Patrons from sexual harassment in “places of public accommodation,” such as stores, hotels, restaurants and bars, theaters, museums, health clubs, and hospitals.</a:t>
            </a:r>
          </a:p>
          <a:p>
            <a:pPr marL="0" indent="0">
              <a:buNone/>
            </a:pPr>
            <a:endParaRPr lang="en-US" sz="2800" dirty="0"/>
          </a:p>
          <a:p>
            <a:r>
              <a:rPr lang="en-US" sz="2800" dirty="0"/>
              <a:t>Employers in “places of public accommodation” are responsible for sexual harassment of Customers and Patrons when perpetrated by their Employees or Nonemployees.</a:t>
            </a:r>
          </a:p>
          <a:p>
            <a:pPr marL="0" indent="0">
              <a:buNone/>
            </a:pPr>
            <a:endParaRPr lang="en-US" sz="2000" dirty="0"/>
          </a:p>
          <a:p>
            <a:pPr marL="0" indent="0">
              <a:buNone/>
            </a:pP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698074"/>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92546" y="194313"/>
            <a:ext cx="7358907" cy="787032"/>
          </a:xfrm>
        </p:spPr>
        <p:txBody>
          <a:bodyPr/>
          <a:lstStyle/>
          <a:p>
            <a:r>
              <a:rPr lang="en-US" sz="2400" dirty="0"/>
              <a:t>Washington, DC  - Harassment by Customers </a:t>
            </a:r>
            <a:br>
              <a:rPr lang="en-US" sz="2400" dirty="0"/>
            </a:br>
            <a:r>
              <a:rPr lang="en-US" sz="2400" dirty="0"/>
              <a:t>and Patron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2800" dirty="0"/>
              <a:t>The Civil Rights Act of 1964 also prohibits sexual harassment of Employees and Nonemployees by Customers and Patrons and Third Parties.</a:t>
            </a:r>
          </a:p>
          <a:p>
            <a:r>
              <a:rPr lang="en-US" sz="2800" dirty="0"/>
              <a:t>Employers are responsible for sexual harassment of their Employees and Nonemployees by Customers and Patrons.</a:t>
            </a:r>
          </a:p>
          <a:p>
            <a:r>
              <a:rPr lang="en-US" sz="2800" dirty="0"/>
              <a:t>Employers are also responsible for sexual harassment of their Employees and Nonemployees by Third Parties such as sales representatives, vendors, or delivery persons.</a:t>
            </a:r>
          </a:p>
          <a:p>
            <a:pPr marL="0" indent="0">
              <a:buNone/>
            </a:pP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1094478"/>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p:txBody>
          <a:bodyPr/>
          <a:lstStyle/>
          <a:p>
            <a:r>
              <a:rPr lang="en-US" sz="2400" dirty="0"/>
              <a:t>Washington D.C. – Scenario A </a:t>
            </a:r>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p:txBody>
          <a:bodyPr/>
          <a:lstStyle/>
          <a:p>
            <a:pPr marL="0" indent="0">
              <a:buNone/>
            </a:pPr>
            <a:r>
              <a:rPr lang="en-US" sz="3200" dirty="0"/>
              <a:t>Sandra is a waiter for The Hungry Skillet restaurant and bar. She is delivering catering services by the restaurant at a bachelor party in a private residence. The party gets rowdy, and she calls her manager to say she is being repeatedly groped by party goers.</a:t>
            </a:r>
          </a:p>
          <a:p>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fld id="{BB5FC4A1-A2DE-4EB5-9A46-57D39B4235EC}" type="slidenum">
              <a:rPr lang="en-US" smtClean="0"/>
              <a:pPr/>
              <a:t>33</a:t>
            </a:fld>
            <a:endParaRPr lang="en-US"/>
          </a:p>
        </p:txBody>
      </p:sp>
    </p:spTree>
    <p:extLst>
      <p:ext uri="{BB962C8B-B14F-4D97-AF65-F5344CB8AC3E}">
        <p14:creationId xmlns:p14="http://schemas.microsoft.com/office/powerpoint/2010/main" val="2224486015"/>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a:xfrm>
            <a:off x="790526" y="113650"/>
            <a:ext cx="7716872" cy="787032"/>
          </a:xfrm>
        </p:spPr>
        <p:txBody>
          <a:bodyPr/>
          <a:lstStyle/>
          <a:p>
            <a:r>
              <a:rPr lang="en-US" b="0" i="0" dirty="0">
                <a:solidFill>
                  <a:srgbClr val="FFFFFF"/>
                </a:solidFill>
                <a:effectLst/>
                <a:latin typeface="Lato" panose="020F0502020204030203" pitchFamily="34" charset="0"/>
              </a:rPr>
              <a:t>What can the Manager do, and is the restaurant responsible? </a:t>
            </a:r>
            <a:br>
              <a:rPr lang="en-US" b="0" i="0" dirty="0">
                <a:solidFill>
                  <a:srgbClr val="FFFFFF"/>
                </a:solidFill>
                <a:effectLst/>
                <a:latin typeface="Lato" panose="020F0502020204030203" pitchFamily="34" charset="0"/>
              </a:rPr>
            </a:br>
            <a:r>
              <a:rPr lang="en-US" b="0" i="0" dirty="0">
                <a:solidFill>
                  <a:srgbClr val="FFFFFF"/>
                </a:solidFill>
                <a:effectLst/>
                <a:latin typeface="Lato" panose="020F0502020204030203" pitchFamily="34" charset="0"/>
              </a:rPr>
              <a:t>Select all appropriate choices</a:t>
            </a:r>
            <a:endParaRPr lang="en-US" dirty="0"/>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p:txBody>
          <a:bodyPr/>
          <a:lstStyle/>
          <a:p>
            <a:endParaRPr lang="en-US" dirty="0"/>
          </a:p>
          <a:p>
            <a:pPr>
              <a:buFont typeface="Wingdings" panose="05000000000000000000" pitchFamily="2" charset="2"/>
              <a:buChar char="q"/>
            </a:pPr>
            <a:r>
              <a:rPr lang="en-US" dirty="0"/>
              <a:t>The Manager should suggest Sandra tell them to stop or talk to the party host, but he has no other recourse because it is in a private residence and not at the restaurant.</a:t>
            </a:r>
          </a:p>
          <a:p>
            <a:pPr>
              <a:buFont typeface="Wingdings" panose="05000000000000000000" pitchFamily="2" charset="2"/>
              <a:buChar char="q"/>
            </a:pPr>
            <a:r>
              <a:rPr lang="en-US" dirty="0"/>
              <a:t>The Manager can ask Sandra to put the party host on the phone and tell him that the harassment must stop, or the catering service will be terminated.</a:t>
            </a:r>
          </a:p>
          <a:p>
            <a:pPr>
              <a:buFont typeface="Wingdings" panose="05000000000000000000" pitchFamily="2" charset="2"/>
              <a:buChar char="q"/>
            </a:pPr>
            <a:r>
              <a:rPr lang="en-US" dirty="0"/>
              <a:t>The restaurant is responsible to protect Sandra from harassment by Customers or Patrons.</a:t>
            </a:r>
          </a:p>
          <a:p>
            <a:pPr marL="0" indent="0">
              <a:buNone/>
            </a:pPr>
            <a:endParaRPr lang="en-US" dirty="0"/>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3769722"/>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9F0D3-D346-A810-E643-DA58CB83D4AE}"/>
              </a:ext>
            </a:extLst>
          </p:cNvPr>
          <p:cNvSpPr>
            <a:spLocks noGrp="1"/>
          </p:cNvSpPr>
          <p:nvPr>
            <p:ph type="title"/>
          </p:nvPr>
        </p:nvSpPr>
        <p:spPr/>
        <p:txBody>
          <a:bodyPr/>
          <a:lstStyle/>
          <a:p>
            <a:r>
              <a:rPr lang="en-US" sz="3600" dirty="0"/>
              <a:t>Answer</a:t>
            </a:r>
          </a:p>
        </p:txBody>
      </p:sp>
      <p:sp>
        <p:nvSpPr>
          <p:cNvPr id="3" name="Content Placeholder 2">
            <a:extLst>
              <a:ext uri="{FF2B5EF4-FFF2-40B4-BE49-F238E27FC236}">
                <a16:creationId xmlns:a16="http://schemas.microsoft.com/office/drawing/2014/main" id="{70A95673-CC42-4B60-6068-15FE79D330EF}"/>
              </a:ext>
            </a:extLst>
          </p:cNvPr>
          <p:cNvSpPr>
            <a:spLocks noGrp="1"/>
          </p:cNvSpPr>
          <p:nvPr>
            <p:ph idx="1"/>
          </p:nvPr>
        </p:nvSpPr>
        <p:spPr>
          <a:xfrm>
            <a:off x="464995" y="2455058"/>
            <a:ext cx="8074836" cy="4842074"/>
          </a:xfrm>
        </p:spPr>
        <p:txBody>
          <a:bodyPr>
            <a:normAutofit/>
          </a:bodyPr>
          <a:lstStyle/>
          <a:p>
            <a:pPr marL="0" indent="0">
              <a:buNone/>
            </a:pPr>
            <a:r>
              <a:rPr lang="en-US" sz="2400" dirty="0"/>
              <a:t>	The off-site location is still a workplace for Sandra as a restaurant employee. The restaurant is responsible to prevent harassment of its employees by Customers or Patrons and take corrective action if it occurs. </a:t>
            </a:r>
          </a:p>
          <a:p>
            <a:endParaRPr lang="en-US" sz="2400" dirty="0"/>
          </a:p>
          <a:p>
            <a:r>
              <a:rPr lang="en-US" sz="2400" dirty="0"/>
              <a:t>The Manager must ensure the harassment stops or remove the employee from the location. </a:t>
            </a:r>
          </a:p>
        </p:txBody>
      </p:sp>
      <p:sp>
        <p:nvSpPr>
          <p:cNvPr id="5" name="Slide Number Placeholder 4">
            <a:extLst>
              <a:ext uri="{FF2B5EF4-FFF2-40B4-BE49-F238E27FC236}">
                <a16:creationId xmlns:a16="http://schemas.microsoft.com/office/drawing/2014/main" id="{BF5B1570-62D2-ED2A-22C1-701BBE52E286}"/>
              </a:ext>
            </a:extLst>
          </p:cNvPr>
          <p:cNvSpPr>
            <a:spLocks noGrp="1"/>
          </p:cNvSpPr>
          <p:nvPr>
            <p:ph type="sldNum" sz="quarter" idx="4"/>
          </p:nvPr>
        </p:nvSpPr>
        <p:spPr/>
        <p:txBody>
          <a:bodyPr/>
          <a:lstStyle/>
          <a:p>
            <a:fld id="{BB5FC4A1-A2DE-4EB5-9A46-57D39B4235EC}" type="slidenum">
              <a:rPr lang="en-US" smtClean="0"/>
              <a:pPr/>
              <a:t>35</a:t>
            </a:fld>
            <a:endParaRPr lang="en-US"/>
          </a:p>
        </p:txBody>
      </p:sp>
      <p:pic>
        <p:nvPicPr>
          <p:cNvPr id="6" name="Picture 5">
            <a:extLst>
              <a:ext uri="{FF2B5EF4-FFF2-40B4-BE49-F238E27FC236}">
                <a16:creationId xmlns:a16="http://schemas.microsoft.com/office/drawing/2014/main" id="{FDB49B8D-C6CD-F728-FBEE-0E472B29C854}"/>
              </a:ext>
            </a:extLst>
          </p:cNvPr>
          <p:cNvPicPr>
            <a:picLocks noChangeAspect="1"/>
          </p:cNvPicPr>
          <p:nvPr/>
        </p:nvPicPr>
        <p:blipFill>
          <a:blip r:embed="rId2"/>
          <a:stretch>
            <a:fillRect/>
          </a:stretch>
        </p:blipFill>
        <p:spPr>
          <a:xfrm>
            <a:off x="341389" y="1732044"/>
            <a:ext cx="1085860" cy="1082116"/>
          </a:xfrm>
          <a:prstGeom prst="rect">
            <a:avLst/>
          </a:prstGeom>
        </p:spPr>
      </p:pic>
    </p:spTree>
    <p:extLst>
      <p:ext uri="{BB962C8B-B14F-4D97-AF65-F5344CB8AC3E}">
        <p14:creationId xmlns:p14="http://schemas.microsoft.com/office/powerpoint/2010/main" val="3887989033"/>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p:txBody>
          <a:bodyPr/>
          <a:lstStyle/>
          <a:p>
            <a:r>
              <a:rPr lang="en-US" sz="2800" dirty="0"/>
              <a:t>Washington D.C. – Scenario B </a:t>
            </a:r>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a:xfrm>
            <a:off x="464995" y="2015926"/>
            <a:ext cx="8074836" cy="4842074"/>
          </a:xfrm>
        </p:spPr>
        <p:txBody>
          <a:bodyPr>
            <a:normAutofit/>
          </a:bodyPr>
          <a:lstStyle/>
          <a:p>
            <a:pPr marL="0" indent="0">
              <a:buNone/>
            </a:pPr>
            <a:r>
              <a:rPr lang="en-US" sz="2800" b="0" i="0" dirty="0">
                <a:effectLst/>
                <a:ea typeface="Lato" panose="020F0502020204030203" pitchFamily="34" charset="0"/>
                <a:cs typeface="Lato" panose="020F0502020204030203" pitchFamily="34" charset="0"/>
              </a:rPr>
              <a:t>Employee A is being trained for a promotion as Assistant Manager at Smithson’s Bar and Grill with responsibilities to deal with vendors, delivery persons, and suppliers at the bar. One vendor repeatedly makes suggestive remarks hinting at hooking up sexually. After several encounters like this, Employee A tells the Manager. </a:t>
            </a:r>
            <a:endParaRPr lang="en-US" sz="2800" dirty="0">
              <a:ea typeface="Lato" panose="020F0502020204030203" pitchFamily="34" charset="0"/>
              <a:cs typeface="Lato" panose="020F0502020204030203" pitchFamily="34" charset="0"/>
            </a:endParaRPr>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0813750"/>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a:xfrm>
            <a:off x="830643" y="167043"/>
            <a:ext cx="7482713" cy="524979"/>
          </a:xfrm>
        </p:spPr>
        <p:txBody>
          <a:bodyPr/>
          <a:lstStyle/>
          <a:p>
            <a:r>
              <a:rPr lang="en-US" b="0" i="0" dirty="0">
                <a:solidFill>
                  <a:srgbClr val="FFFFFF"/>
                </a:solidFill>
                <a:effectLst/>
                <a:latin typeface="Lato" panose="020F0502020204030203" pitchFamily="34" charset="0"/>
              </a:rPr>
              <a:t>What is the Manager's best course of action? Is the bar responsible? Select all appropriate choices:</a:t>
            </a:r>
            <a:endParaRPr lang="en-US" dirty="0"/>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p:txBody>
          <a:bodyPr>
            <a:normAutofit fontScale="77500" lnSpcReduction="20000"/>
          </a:bodyPr>
          <a:lstStyle/>
          <a:p>
            <a:pPr algn="just">
              <a:buFont typeface="Wingdings" panose="05000000000000000000" pitchFamily="2" charset="2"/>
              <a:buChar char="q"/>
            </a:pPr>
            <a:r>
              <a:rPr lang="en-US" sz="3200" dirty="0"/>
              <a:t>The bar is responsible to take corrective action to protect the Employee from harassment from a Third Party.</a:t>
            </a:r>
          </a:p>
          <a:p>
            <a:pPr marL="0" indent="0" algn="just">
              <a:buNone/>
            </a:pPr>
            <a:endParaRPr lang="en-US" sz="3200" dirty="0"/>
          </a:p>
          <a:p>
            <a:pPr algn="just">
              <a:buFont typeface="Wingdings" panose="05000000000000000000" pitchFamily="2" charset="2"/>
              <a:buChar char="q"/>
            </a:pPr>
            <a:r>
              <a:rPr lang="en-US" sz="3200" dirty="0"/>
              <a:t>The Manager should move Employee A to different responsibilities or a different shift to prevent further contact with the vendor.</a:t>
            </a:r>
          </a:p>
          <a:p>
            <a:pPr marL="0" indent="0" algn="just">
              <a:buNone/>
            </a:pPr>
            <a:endParaRPr lang="en-US" sz="3200" dirty="0"/>
          </a:p>
          <a:p>
            <a:pPr>
              <a:buFont typeface="Wingdings" panose="05000000000000000000" pitchFamily="2" charset="2"/>
              <a:buChar char="q"/>
            </a:pPr>
            <a:r>
              <a:rPr lang="en-US" sz="3200" dirty="0"/>
              <a:t>The Manager should tell Employee A to ignore the behavior since the bar has no responsibility for the behavior of this outside person.</a:t>
            </a:r>
          </a:p>
          <a:p>
            <a:pPr marL="0" indent="0" algn="just">
              <a:buNone/>
            </a:pPr>
            <a:endParaRPr lang="en-US" sz="3200" dirty="0"/>
          </a:p>
          <a:p>
            <a:pPr algn="just">
              <a:buFont typeface="Wingdings" panose="05000000000000000000" pitchFamily="2" charset="2"/>
              <a:buChar char="q"/>
            </a:pPr>
            <a:r>
              <a:rPr lang="en-US" sz="3200" dirty="0"/>
              <a:t>The Manager should call the vendor's boss. The vendor's company operates under the same state and federal standards as the bar and should be motivated to correct the problem. </a:t>
            </a:r>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9075694"/>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a:xfrm>
            <a:off x="1079137" y="244676"/>
            <a:ext cx="6985725" cy="524979"/>
          </a:xfrm>
        </p:spPr>
        <p:txBody>
          <a:bodyPr/>
          <a:lstStyle/>
          <a:p>
            <a:r>
              <a:rPr lang="en-US" sz="2800" dirty="0"/>
              <a:t>Answer</a:t>
            </a:r>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a:xfrm>
            <a:off x="423037" y="2150402"/>
            <a:ext cx="8074836" cy="4842074"/>
          </a:xfrm>
        </p:spPr>
        <p:txBody>
          <a:bodyPr>
            <a:normAutofit/>
          </a:bodyPr>
          <a:lstStyle/>
          <a:p>
            <a:pPr marL="0" indent="0">
              <a:buNone/>
            </a:pPr>
            <a:r>
              <a:rPr lang="en-US" sz="3200" dirty="0"/>
              <a:t>	The bar is responsible to protect its employees and non-employees from harassment from Third Parties. Changing Employee A’s shift or duties could constitute retaliation against the employee for making the report and create liability for the bar.</a:t>
            </a:r>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DC4AC9D8-8F67-9748-8607-71A798FBD715}"/>
              </a:ext>
            </a:extLst>
          </p:cNvPr>
          <p:cNvPicPr>
            <a:picLocks noChangeAspect="1"/>
          </p:cNvPicPr>
          <p:nvPr/>
        </p:nvPicPr>
        <p:blipFill>
          <a:blip r:embed="rId2"/>
          <a:stretch>
            <a:fillRect/>
          </a:stretch>
        </p:blipFill>
        <p:spPr>
          <a:xfrm>
            <a:off x="185090" y="1429093"/>
            <a:ext cx="1287724" cy="1283284"/>
          </a:xfrm>
          <a:prstGeom prst="rect">
            <a:avLst/>
          </a:prstGeom>
        </p:spPr>
      </p:pic>
    </p:spTree>
    <p:extLst>
      <p:ext uri="{BB962C8B-B14F-4D97-AF65-F5344CB8AC3E}">
        <p14:creationId xmlns:p14="http://schemas.microsoft.com/office/powerpoint/2010/main" val="2088331922"/>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p:txBody>
          <a:bodyPr/>
          <a:lstStyle/>
          <a:p>
            <a:r>
              <a:rPr lang="en-US" sz="2800" dirty="0"/>
              <a:t>Washington D.C. – Scenario C </a:t>
            </a:r>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p:txBody>
          <a:bodyPr>
            <a:normAutofit lnSpcReduction="10000"/>
          </a:bodyPr>
          <a:lstStyle/>
          <a:p>
            <a:pPr marL="0" indent="0">
              <a:buNone/>
            </a:pPr>
            <a:r>
              <a:rPr lang="en-US" sz="2800" dirty="0"/>
              <a:t>Two waiters at the Sticky Spoon Diner repeatedly tease a short order cook about his sexuality and demeanor. </a:t>
            </a:r>
          </a:p>
          <a:p>
            <a:pPr marL="0" indent="0">
              <a:buNone/>
            </a:pPr>
            <a:r>
              <a:rPr lang="en-US" sz="2800" dirty="0"/>
              <a:t>Their comments in the form of “compliments” are thinly veiled stereotypes for gay men. The cook says he is not gay but finds the constant innuendo to be sickening and personally offensive. </a:t>
            </a:r>
          </a:p>
          <a:p>
            <a:pPr marL="0" indent="0">
              <a:buNone/>
            </a:pPr>
            <a:r>
              <a:rPr lang="en-US" sz="2800" dirty="0"/>
              <a:t>He tells his Manager, but the Manager has witnessed and laughed at this behavior, and he tells the cook to “man up” and waves it off. The cook also knows that this behavior has offended other employees and even customers.</a:t>
            </a:r>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555969"/>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F5FBC-3037-4D3F-8933-E634C55924D7}"/>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b="1" kern="1200">
                <a:latin typeface="+mj-lt"/>
                <a:ea typeface="+mj-ea"/>
                <a:cs typeface="+mj-cs"/>
              </a:rPr>
              <a:t>Why the heavy focus on sexual harassment? </a:t>
            </a:r>
          </a:p>
        </p:txBody>
      </p:sp>
      <p:pic>
        <p:nvPicPr>
          <p:cNvPr id="9" name="Content Placeholder 8" descr="A person holding her hand up&#10;&#10;Description automatically generated">
            <a:extLst>
              <a:ext uri="{FF2B5EF4-FFF2-40B4-BE49-F238E27FC236}">
                <a16:creationId xmlns:a16="http://schemas.microsoft.com/office/drawing/2014/main" id="{63F9C1B7-E13F-CFD5-FD70-42068716A066}"/>
              </a:ext>
            </a:extLst>
          </p:cNvPr>
          <p:cNvPicPr>
            <a:picLocks noGrp="1" noChangeAspect="1"/>
          </p:cNvPicPr>
          <p:nvPr>
            <p:ph sz="half" idx="1"/>
          </p:nvPr>
        </p:nvPicPr>
        <p:blipFill>
          <a:blip r:embed="rId3"/>
          <a:stretch>
            <a:fillRect/>
          </a:stretch>
        </p:blipFill>
        <p:spPr>
          <a:xfrm>
            <a:off x="645914" y="1508125"/>
            <a:ext cx="3851672" cy="5135563"/>
          </a:xfrm>
        </p:spPr>
      </p:pic>
      <p:sp>
        <p:nvSpPr>
          <p:cNvPr id="5" name="Slide Number Placeholder 4" hidden="1">
            <a:extLst>
              <a:ext uri="{FF2B5EF4-FFF2-40B4-BE49-F238E27FC236}">
                <a16:creationId xmlns:a16="http://schemas.microsoft.com/office/drawing/2014/main" id="{4272448E-1CAA-4EF1-A9C1-52547A35B05F}"/>
              </a:ext>
            </a:extLst>
          </p:cNvPr>
          <p:cNvSpPr>
            <a:spLocks noGrp="1"/>
          </p:cNvSpPr>
          <p:nvPr>
            <p:ph type="sldNum" sz="quarter" idx="4294967295"/>
          </p:nvPr>
        </p:nvSpPr>
        <p:spPr>
          <a:xfrm>
            <a:off x="8662988" y="6557963"/>
            <a:ext cx="481012"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8" name="TextBox 3">
            <a:extLst>
              <a:ext uri="{FF2B5EF4-FFF2-40B4-BE49-F238E27FC236}">
                <a16:creationId xmlns:a16="http://schemas.microsoft.com/office/drawing/2014/main" id="{FA06ECBC-29C0-BCCC-252E-A8091AA85ABD}"/>
              </a:ext>
            </a:extLst>
          </p:cNvPr>
          <p:cNvGraphicFramePr/>
          <p:nvPr>
            <p:extLst>
              <p:ext uri="{D42A27DB-BD31-4B8C-83A1-F6EECF244321}">
                <p14:modId xmlns:p14="http://schemas.microsoft.com/office/powerpoint/2010/main" val="3008514862"/>
              </p:ext>
            </p:extLst>
          </p:nvPr>
        </p:nvGraphicFramePr>
        <p:xfrm>
          <a:off x="4629150" y="1508760"/>
          <a:ext cx="3886200" cy="51354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504341118"/>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a:xfrm>
            <a:off x="822961" y="362857"/>
            <a:ext cx="6361610" cy="290286"/>
          </a:xfrm>
        </p:spPr>
        <p:txBody>
          <a:bodyPr/>
          <a:lstStyle/>
          <a:p>
            <a:r>
              <a:rPr lang="en-US" b="0" i="0" dirty="0">
                <a:solidFill>
                  <a:srgbClr val="FFFFFF"/>
                </a:solidFill>
                <a:effectLst/>
                <a:latin typeface="Lato" panose="020F0502020204030203" pitchFamily="34" charset="0"/>
              </a:rPr>
              <a:t>Who can report this? If an investigation confirms this harassing behavior, who can be held responsible? Select all appropriate choices.</a:t>
            </a:r>
            <a:endParaRPr lang="en-US" dirty="0"/>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a:xfrm>
            <a:off x="440951" y="1716279"/>
            <a:ext cx="8074836" cy="4842074"/>
          </a:xfrm>
        </p:spPr>
        <p:txBody>
          <a:bodyPr>
            <a:normAutofit/>
          </a:bodyPr>
          <a:lstStyle/>
          <a:p>
            <a:pPr algn="just">
              <a:buFont typeface="Wingdings" panose="05000000000000000000" pitchFamily="2" charset="2"/>
              <a:buChar char="q"/>
            </a:pPr>
            <a:r>
              <a:rPr lang="en-US" sz="2800" dirty="0"/>
              <a:t>The cook is not gay, so it's not really harassment.</a:t>
            </a:r>
          </a:p>
          <a:p>
            <a:pPr algn="just">
              <a:buFont typeface="Wingdings" panose="05000000000000000000" pitchFamily="2" charset="2"/>
              <a:buChar char="q"/>
            </a:pPr>
            <a:r>
              <a:rPr lang="en-US" sz="2800" dirty="0"/>
              <a:t>The cook and any witnesses can report this to higher management in the restaurant.</a:t>
            </a:r>
          </a:p>
          <a:p>
            <a:pPr algn="just">
              <a:buFont typeface="Wingdings" panose="05000000000000000000" pitchFamily="2" charset="2"/>
              <a:buChar char="q"/>
            </a:pPr>
            <a:r>
              <a:rPr lang="en-US" sz="2800" dirty="0"/>
              <a:t>This harassment may be reported state or federal agencies for investigation and corrective action.</a:t>
            </a:r>
          </a:p>
          <a:p>
            <a:pPr algn="just">
              <a:buFont typeface="Wingdings" panose="05000000000000000000" pitchFamily="2" charset="2"/>
              <a:buChar char="q"/>
            </a:pPr>
            <a:r>
              <a:rPr lang="en-US" sz="2800" dirty="0"/>
              <a:t>The individual harassers may be held responsible.</a:t>
            </a:r>
          </a:p>
          <a:p>
            <a:pPr algn="just">
              <a:buFont typeface="Wingdings" panose="05000000000000000000" pitchFamily="2" charset="2"/>
              <a:buChar char="q"/>
            </a:pPr>
            <a:r>
              <a:rPr lang="en-US" sz="2800" dirty="0"/>
              <a:t>The restaurant is liable for the Manager's failure to take corrective action.</a:t>
            </a:r>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0921"/>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5318-89D8-9F18-7EB1-30215E40ED05}"/>
              </a:ext>
            </a:extLst>
          </p:cNvPr>
          <p:cNvSpPr>
            <a:spLocks noGrp="1"/>
          </p:cNvSpPr>
          <p:nvPr>
            <p:ph type="title"/>
          </p:nvPr>
        </p:nvSpPr>
        <p:spPr>
          <a:xfrm>
            <a:off x="822961" y="362857"/>
            <a:ext cx="6361610" cy="290286"/>
          </a:xfrm>
        </p:spPr>
        <p:txBody>
          <a:bodyPr/>
          <a:lstStyle/>
          <a:p>
            <a:r>
              <a:rPr lang="en-US" sz="2800" dirty="0"/>
              <a:t>Answer</a:t>
            </a:r>
          </a:p>
        </p:txBody>
      </p:sp>
      <p:sp>
        <p:nvSpPr>
          <p:cNvPr id="3" name="Content Placeholder 2">
            <a:extLst>
              <a:ext uri="{FF2B5EF4-FFF2-40B4-BE49-F238E27FC236}">
                <a16:creationId xmlns:a16="http://schemas.microsoft.com/office/drawing/2014/main" id="{380B8472-008B-B665-3DCA-B23E79BB89AE}"/>
              </a:ext>
            </a:extLst>
          </p:cNvPr>
          <p:cNvSpPr>
            <a:spLocks noGrp="1"/>
          </p:cNvSpPr>
          <p:nvPr>
            <p:ph idx="1"/>
          </p:nvPr>
        </p:nvSpPr>
        <p:spPr>
          <a:xfrm>
            <a:off x="461137" y="2015926"/>
            <a:ext cx="8074836" cy="4842074"/>
          </a:xfrm>
        </p:spPr>
        <p:txBody>
          <a:bodyPr>
            <a:normAutofit/>
          </a:bodyPr>
          <a:lstStyle/>
          <a:p>
            <a:pPr marL="0" indent="0">
              <a:buNone/>
            </a:pPr>
            <a:r>
              <a:rPr lang="en-US" sz="2800" dirty="0"/>
              <a:t>	It makes no difference if the cook is gay. He found this repeated sexual conduct offensive. Anyone who experiences or witnesses unlawful harassment can report it to the leadership of the company or to state or federal agencies for corrective action. The restaurant is responsible for the failure of the Manager to take corrective action and stop the harassment.</a:t>
            </a:r>
          </a:p>
        </p:txBody>
      </p:sp>
      <p:sp>
        <p:nvSpPr>
          <p:cNvPr id="5" name="Slide Number Placeholder 4">
            <a:extLst>
              <a:ext uri="{FF2B5EF4-FFF2-40B4-BE49-F238E27FC236}">
                <a16:creationId xmlns:a16="http://schemas.microsoft.com/office/drawing/2014/main" id="{7E8B8C46-6B87-E3AC-D493-4AD22245F37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8E01DDCB-39A3-6565-C066-95AE95F5900D}"/>
              </a:ext>
            </a:extLst>
          </p:cNvPr>
          <p:cNvPicPr>
            <a:picLocks noChangeAspect="1"/>
          </p:cNvPicPr>
          <p:nvPr/>
        </p:nvPicPr>
        <p:blipFill>
          <a:blip r:embed="rId2"/>
          <a:stretch>
            <a:fillRect/>
          </a:stretch>
        </p:blipFill>
        <p:spPr>
          <a:xfrm>
            <a:off x="240715" y="1248880"/>
            <a:ext cx="1324427" cy="1319860"/>
          </a:xfrm>
          <a:prstGeom prst="rect">
            <a:avLst/>
          </a:prstGeom>
        </p:spPr>
      </p:pic>
    </p:spTree>
    <p:extLst>
      <p:ext uri="{BB962C8B-B14F-4D97-AF65-F5344CB8AC3E}">
        <p14:creationId xmlns:p14="http://schemas.microsoft.com/office/powerpoint/2010/main" val="489051755"/>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lgn="l">
              <a:buNone/>
            </a:pPr>
            <a:r>
              <a:rPr lang="en-US" sz="2000" dirty="0"/>
              <a:t>In addition to your employer’s internal complaint process, within one year of the alleged discrimination, you can contact:</a:t>
            </a:r>
          </a:p>
          <a:p>
            <a:pPr marL="0" indent="0">
              <a:buNone/>
            </a:pPr>
            <a:endParaRPr lang="en-US" sz="2000" dirty="0"/>
          </a:p>
          <a:p>
            <a:pPr marL="0" indent="0">
              <a:buNone/>
            </a:pPr>
            <a:r>
              <a:rPr lang="en-US" sz="2000" dirty="0"/>
              <a:t>District of Columbia Office of Human Rights</a:t>
            </a:r>
          </a:p>
          <a:p>
            <a:pPr marL="0" indent="0">
              <a:buNone/>
            </a:pPr>
            <a:r>
              <a:rPr lang="en-US" sz="2000" dirty="0"/>
              <a:t>441 4th Street NW, Suite 570 North</a:t>
            </a:r>
          </a:p>
          <a:p>
            <a:pPr marL="0" indent="0">
              <a:buNone/>
            </a:pPr>
            <a:r>
              <a:rPr lang="en-US" sz="2000" dirty="0"/>
              <a:t>Washington, DC 20001</a:t>
            </a:r>
          </a:p>
          <a:p>
            <a:pPr marL="0" indent="0">
              <a:buNone/>
            </a:pPr>
            <a:r>
              <a:rPr lang="en-US" sz="2000" dirty="0"/>
              <a:t>Phone: 202-727-4559</a:t>
            </a:r>
          </a:p>
          <a:p>
            <a:pPr marL="0" indent="0">
              <a:buNone/>
            </a:pPr>
            <a:r>
              <a:rPr lang="en-US" sz="2000" dirty="0"/>
              <a:t>Email: ohr.intake@dc.gov</a:t>
            </a:r>
          </a:p>
          <a:p>
            <a:pPr marL="0" indent="0">
              <a:buNone/>
            </a:pPr>
            <a:endParaRPr lang="en-US" sz="2000" dirty="0"/>
          </a:p>
          <a:p>
            <a:pPr marL="0" indent="0">
              <a:buNone/>
            </a:pPr>
            <a:r>
              <a:rPr lang="en-US" sz="2000" dirty="0"/>
              <a:t>Online: </a:t>
            </a:r>
            <a:r>
              <a:rPr lang="en-US" sz="2000" dirty="0">
                <a:hlinkClick r:id="rId2"/>
              </a:rPr>
              <a:t>https://ohr.dc.gov/service/file-discrimination-complaint</a:t>
            </a:r>
            <a:endParaRPr lang="en-US" sz="2000" dirty="0"/>
          </a:p>
          <a:p>
            <a:pPr marL="0" indent="0">
              <a:buNone/>
            </a:pP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264877"/>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81001" y="194313"/>
            <a:ext cx="7358907" cy="787032"/>
          </a:xfrm>
        </p:spPr>
        <p:txBody>
          <a:bodyPr/>
          <a:lstStyle/>
          <a:p>
            <a:r>
              <a:rPr lang="en-US" sz="2800" dirty="0"/>
              <a:t>Illinois- Protected Classe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600" dirty="0"/>
              <a:t>The Illinois Human Rights Act prohibits discrimination and harassment of employees based on actual or perceived:</a:t>
            </a:r>
          </a:p>
          <a:p>
            <a:r>
              <a:rPr lang="en-US" sz="1600" dirty="0"/>
              <a:t>Race</a:t>
            </a:r>
          </a:p>
          <a:p>
            <a:r>
              <a:rPr lang="en-US" sz="1600" dirty="0"/>
              <a:t>Color</a:t>
            </a:r>
          </a:p>
          <a:p>
            <a:r>
              <a:rPr lang="en-US" sz="1600" dirty="0"/>
              <a:t>Religion</a:t>
            </a:r>
          </a:p>
          <a:p>
            <a:r>
              <a:rPr lang="en-US" sz="1600" dirty="0"/>
              <a:t>National origin</a:t>
            </a:r>
          </a:p>
          <a:p>
            <a:r>
              <a:rPr lang="en-US" sz="1600" dirty="0"/>
              <a:t>Ancestry</a:t>
            </a:r>
          </a:p>
          <a:p>
            <a:r>
              <a:rPr lang="en-US" sz="1600" dirty="0"/>
              <a:t>Age</a:t>
            </a:r>
          </a:p>
          <a:p>
            <a:r>
              <a:rPr lang="en-US" sz="1600" dirty="0"/>
              <a:t>Sex, sexual orientation, or gender-related identity</a:t>
            </a:r>
          </a:p>
          <a:p>
            <a:r>
              <a:rPr lang="en-US" sz="1600" dirty="0"/>
              <a:t>Marital status</a:t>
            </a:r>
          </a:p>
          <a:p>
            <a:r>
              <a:rPr lang="en-US" sz="1600" dirty="0"/>
              <a:t>Order of protection status</a:t>
            </a:r>
          </a:p>
          <a:p>
            <a:r>
              <a:rPr lang="en-US" sz="1600" dirty="0"/>
              <a:t>Disability</a:t>
            </a:r>
          </a:p>
          <a:p>
            <a:r>
              <a:rPr lang="en-US" sz="1600" dirty="0"/>
              <a:t>Military status</a:t>
            </a:r>
          </a:p>
          <a:p>
            <a:r>
              <a:rPr lang="en-US" sz="1600" dirty="0"/>
              <a:t>Pregnancy</a:t>
            </a:r>
          </a:p>
          <a:p>
            <a:r>
              <a:rPr lang="en-US" sz="1600" dirty="0"/>
              <a:t>Unfavorable discharge from military service</a:t>
            </a:r>
          </a:p>
          <a:p>
            <a:r>
              <a:rPr lang="en-US" sz="1600" dirty="0"/>
              <a:t>Citizenship status</a:t>
            </a:r>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59379"/>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47625"/>
            <a:ext cx="7358907" cy="787032"/>
          </a:xfrm>
        </p:spPr>
        <p:txBody>
          <a:bodyPr/>
          <a:lstStyle/>
          <a:p>
            <a:r>
              <a:rPr lang="en-US" sz="2800" dirty="0"/>
              <a:t>Illinois Human Rights Act</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475510"/>
            <a:ext cx="8435667" cy="4761411"/>
          </a:xfrm>
        </p:spPr>
        <p:txBody>
          <a:bodyPr>
            <a:noAutofit/>
          </a:bodyPr>
          <a:lstStyle/>
          <a:p>
            <a:pPr marL="0" indent="0">
              <a:buNone/>
            </a:pPr>
            <a:r>
              <a:rPr lang="en-US" sz="2000" dirty="0"/>
              <a:t>Prohibits any unwelcome behaviors or sexual advances that:</a:t>
            </a:r>
          </a:p>
          <a:p>
            <a:pPr marL="0" indent="0">
              <a:buNone/>
            </a:pPr>
            <a:endParaRPr lang="en-US" sz="2000" dirty="0"/>
          </a:p>
          <a:p>
            <a:r>
              <a:rPr lang="en-US" sz="2000" dirty="0"/>
              <a:t>interfere with an individual's work performance, or </a:t>
            </a:r>
          </a:p>
          <a:p>
            <a:r>
              <a:rPr lang="en-US" sz="2000" dirty="0"/>
              <a:t>create a hostile or offensive work environment, or </a:t>
            </a:r>
          </a:p>
          <a:p>
            <a:r>
              <a:rPr lang="en-US" sz="2000" dirty="0"/>
              <a:t>become a condition of an individual's employment or the basis for employment decisions.</a:t>
            </a:r>
          </a:p>
          <a:p>
            <a:pPr marL="0" indent="0">
              <a:buNone/>
            </a:pPr>
            <a:r>
              <a:rPr lang="en-US" sz="2000" dirty="0"/>
              <a:t>Protects employees and non-employees such as contractors and consultants.</a:t>
            </a:r>
          </a:p>
          <a:p>
            <a:pPr marL="0" indent="0">
              <a:buNone/>
            </a:pPr>
            <a:endParaRPr lang="en-US" sz="2000" dirty="0"/>
          </a:p>
          <a:p>
            <a:pPr marL="0" indent="0">
              <a:buNone/>
            </a:pPr>
            <a:r>
              <a:rPr lang="en-US" sz="2000" dirty="0"/>
              <a:t>Prohibits retaliation against an employee for submitting a complaint or participating in an investigation of sexual harassment.</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961399"/>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92546" y="227563"/>
            <a:ext cx="7358907" cy="787032"/>
          </a:xfrm>
        </p:spPr>
        <p:txBody>
          <a:bodyPr/>
          <a:lstStyle/>
          <a:p>
            <a:r>
              <a:rPr lang="en-US" sz="2800" dirty="0"/>
              <a:t>City of Chicago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475510"/>
            <a:ext cx="8435667" cy="4761411"/>
          </a:xfrm>
        </p:spPr>
        <p:txBody>
          <a:bodyPr>
            <a:noAutofit/>
          </a:bodyPr>
          <a:lstStyle/>
          <a:p>
            <a:pPr marL="0" indent="0">
              <a:lnSpc>
                <a:spcPct val="100000"/>
              </a:lnSpc>
              <a:buNone/>
            </a:pPr>
            <a:r>
              <a:rPr lang="en-US" sz="1800" dirty="0"/>
              <a:t>The City of Chicago defines sexual harassment as any:</a:t>
            </a:r>
          </a:p>
          <a:p>
            <a:pPr marL="0" indent="0">
              <a:lnSpc>
                <a:spcPct val="100000"/>
              </a:lnSpc>
              <a:buNone/>
            </a:pPr>
            <a:r>
              <a:rPr lang="en-US" sz="1800" dirty="0"/>
              <a:t>(</a:t>
            </a:r>
            <a:r>
              <a:rPr lang="en-US" sz="1800" dirty="0" err="1"/>
              <a:t>i</a:t>
            </a:r>
            <a:r>
              <a:rPr lang="en-US" sz="1800" dirty="0"/>
              <a:t>) unwelcome sexual advances or unwelcome conduct of a sexual nature;  </a:t>
            </a:r>
          </a:p>
          <a:p>
            <a:pPr marL="0" indent="0">
              <a:lnSpc>
                <a:spcPct val="100000"/>
              </a:lnSpc>
              <a:buNone/>
            </a:pPr>
            <a:r>
              <a:rPr lang="en-US" sz="1800" dirty="0"/>
              <a:t>(ii) requests for sexual favors or conduct of a sexual nature when </a:t>
            </a:r>
          </a:p>
          <a:p>
            <a:pPr marL="0" indent="0">
              <a:lnSpc>
                <a:spcPct val="100000"/>
              </a:lnSpc>
              <a:buNone/>
            </a:pPr>
            <a:r>
              <a:rPr lang="en-US" sz="1800" dirty="0"/>
              <a:t>   (1) submission to such conduct is made either explicitly or implicitly a term or condition of an individual’s employment; or </a:t>
            </a:r>
          </a:p>
          <a:p>
            <a:pPr marL="0" indent="0">
              <a:lnSpc>
                <a:spcPct val="100000"/>
              </a:lnSpc>
              <a:buNone/>
            </a:pPr>
            <a:r>
              <a:rPr lang="en-US" sz="1800" dirty="0"/>
              <a:t>   (2) submission to or rejection of such conduct by an individual is used as the basis for any employment decision affecting the individual; or </a:t>
            </a:r>
          </a:p>
          <a:p>
            <a:pPr marL="0" indent="0">
              <a:lnSpc>
                <a:spcPct val="100000"/>
              </a:lnSpc>
              <a:buNone/>
            </a:pPr>
            <a:r>
              <a:rPr lang="en-US" sz="1800" dirty="0"/>
              <a:t>   (3) such conduct has the purpose or effect of substantially interfering with an individual’s work performance or creating an intimidating, hostile, or offensive working environment; or </a:t>
            </a:r>
          </a:p>
          <a:p>
            <a:pPr marL="0" indent="0">
              <a:lnSpc>
                <a:spcPct val="100000"/>
              </a:lnSpc>
              <a:buNone/>
            </a:pPr>
            <a:r>
              <a:rPr lang="en-US" sz="1800" dirty="0"/>
              <a:t>(iii) sexual misconduct, which means any behavior of a sexual nature which also involves coercion, abuse of authority, or misuse of an individual’s employment position.</a:t>
            </a:r>
          </a:p>
          <a:p>
            <a:pPr marL="0" indent="0">
              <a:lnSpc>
                <a:spcPct val="100000"/>
              </a:lnSpc>
              <a:buNone/>
            </a:pPr>
            <a:r>
              <a:rPr lang="en-US" sz="1800" dirty="0"/>
              <a:t>In addition to one hour of sexual harassment prevention training for all employees (required in Illinois), Chicago also requires an additional hour of training for supervisors and managers. It also requires an hour of bystander training for all employees.</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8112542"/>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800" dirty="0"/>
              <a:t>In addition to your employer’s internal complaint process, employees within the geographic limits of Chicago may file a complaint up to 365 days after the alleged incident with:</a:t>
            </a:r>
          </a:p>
          <a:p>
            <a:pPr marL="0" indent="0">
              <a:buNone/>
            </a:pPr>
            <a:r>
              <a:rPr lang="en-US" sz="1800" dirty="0"/>
              <a:t>Chicago Commission on Human Relations</a:t>
            </a:r>
          </a:p>
          <a:p>
            <a:pPr marL="0" indent="0">
              <a:buNone/>
            </a:pPr>
            <a:r>
              <a:rPr lang="en-US" sz="1800" dirty="0"/>
              <a:t>In person: 740 N. Sedgwick, 4th floor, Chicago, IL 60654</a:t>
            </a:r>
          </a:p>
          <a:p>
            <a:pPr marL="0" indent="0">
              <a:buNone/>
            </a:pPr>
            <a:r>
              <a:rPr lang="en-US" sz="1800" dirty="0"/>
              <a:t>Email: cchrfilings@cityofchicago.org</a:t>
            </a:r>
          </a:p>
          <a:p>
            <a:pPr marL="0" indent="0">
              <a:buNone/>
            </a:pPr>
            <a:r>
              <a:rPr lang="en-US" sz="1800" dirty="0"/>
              <a:t>Website: </a:t>
            </a:r>
            <a:r>
              <a:rPr lang="en-US" sz="1800" dirty="0">
                <a:hlinkClick r:id="rId2"/>
              </a:rPr>
              <a:t>https://www.chicago.gov/content/dam/city/depts/cchr/AdjSupportingInfo/basic-steps-for-filing-/BasicStepsforFiling_ProForm.pdf</a:t>
            </a:r>
            <a:endParaRPr lang="en-US" sz="1800" dirty="0"/>
          </a:p>
          <a:p>
            <a:pPr marL="0" indent="0">
              <a:buNone/>
            </a:pPr>
            <a:r>
              <a:rPr lang="en-US" sz="1800" dirty="0"/>
              <a:t>Throughout Illinois, employees may file a complaint up to 300 days after the alleged incident with:</a:t>
            </a:r>
          </a:p>
          <a:p>
            <a:pPr marL="0" indent="0">
              <a:buNone/>
            </a:pPr>
            <a:r>
              <a:rPr lang="en-US" sz="1800" dirty="0"/>
              <a:t>Illinois Department of Human Rights</a:t>
            </a:r>
          </a:p>
          <a:p>
            <a:pPr marL="0" indent="0">
              <a:buNone/>
            </a:pPr>
            <a:r>
              <a:rPr lang="en-US" sz="1800" dirty="0"/>
              <a:t>Phone: (877) 236-7703</a:t>
            </a:r>
          </a:p>
          <a:p>
            <a:pPr marL="0" indent="0">
              <a:buNone/>
            </a:pPr>
            <a:r>
              <a:rPr lang="en-US" sz="1800" dirty="0"/>
              <a:t>Email: IDHR.ReportSH@illinois.gov</a:t>
            </a:r>
          </a:p>
          <a:p>
            <a:pPr marL="0" indent="0">
              <a:buNone/>
            </a:pPr>
            <a:r>
              <a:rPr lang="en-US" sz="1800" dirty="0"/>
              <a:t>Website: </a:t>
            </a:r>
            <a:r>
              <a:rPr lang="en-US" sz="1800" dirty="0">
                <a:hlinkClick r:id="rId3"/>
              </a:rPr>
              <a:t>https://shdh.illinois.gov/</a:t>
            </a:r>
            <a:endParaRPr lang="en-US" sz="1800" dirty="0"/>
          </a:p>
          <a:p>
            <a:pPr marL="0" indent="0">
              <a:buNone/>
            </a:pPr>
            <a:endParaRPr lang="en-US" sz="18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211076"/>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19101" y="227563"/>
            <a:ext cx="7358907" cy="787032"/>
          </a:xfrm>
        </p:spPr>
        <p:txBody>
          <a:bodyPr/>
          <a:lstStyle/>
          <a:p>
            <a:r>
              <a:rPr lang="en-US" sz="2800" dirty="0"/>
              <a:t>Maine Human Rights Act</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601345"/>
            <a:ext cx="8435667" cy="4761411"/>
          </a:xfrm>
        </p:spPr>
        <p:txBody>
          <a:bodyPr>
            <a:noAutofit/>
          </a:bodyPr>
          <a:lstStyle/>
          <a:p>
            <a:pPr marL="0" indent="0">
              <a:buNone/>
            </a:pPr>
            <a:r>
              <a:rPr lang="en-US" sz="1800" dirty="0"/>
              <a:t>Prohibits discrimination and harassment of employees based on:</a:t>
            </a:r>
          </a:p>
          <a:p>
            <a:r>
              <a:rPr lang="en-US" sz="1800" dirty="0"/>
              <a:t>Race</a:t>
            </a:r>
          </a:p>
          <a:p>
            <a:r>
              <a:rPr lang="en-US" sz="1800" dirty="0"/>
              <a:t>Color</a:t>
            </a:r>
          </a:p>
          <a:p>
            <a:r>
              <a:rPr lang="en-US" sz="1800" dirty="0"/>
              <a:t>Sex (including pregnancy, childbirth, or related medical conditions)</a:t>
            </a:r>
          </a:p>
          <a:p>
            <a:r>
              <a:rPr lang="en-US" sz="1800" dirty="0"/>
              <a:t>Sexual orientation (including gender identity and gender expression)</a:t>
            </a:r>
          </a:p>
          <a:p>
            <a:r>
              <a:rPr lang="en-US" sz="1800" dirty="0"/>
              <a:t>Age</a:t>
            </a:r>
          </a:p>
          <a:p>
            <a:r>
              <a:rPr lang="en-US" sz="1800" dirty="0"/>
              <a:t>Physical or Mental Disability (including the requirement to accommodate disabilities)</a:t>
            </a:r>
          </a:p>
          <a:p>
            <a:r>
              <a:rPr lang="en-US" sz="1800" dirty="0"/>
              <a:t>Genetic pre-disposition</a:t>
            </a:r>
          </a:p>
          <a:p>
            <a:r>
              <a:rPr lang="en-US" sz="1800" dirty="0"/>
              <a:t>Religion</a:t>
            </a:r>
          </a:p>
          <a:p>
            <a:r>
              <a:rPr lang="en-US" sz="1800" dirty="0"/>
              <a:t>Ancestry</a:t>
            </a:r>
          </a:p>
          <a:p>
            <a:r>
              <a:rPr lang="en-US" sz="1800" dirty="0"/>
              <a:t>National Origin</a:t>
            </a:r>
          </a:p>
          <a:p>
            <a:pPr marL="0" indent="0">
              <a:buNone/>
            </a:pPr>
            <a:r>
              <a:rPr lang="en-US" sz="1800" dirty="0"/>
              <a:t>Protects against retaliation against an employee for exercising rights under the Act, complaining of a violation of the Act, or testifying or participating in an investigation or proceeding.</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3000662"/>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00051" y="227563"/>
            <a:ext cx="7358907" cy="787032"/>
          </a:xfrm>
        </p:spPr>
        <p:txBody>
          <a:bodyPr/>
          <a:lstStyle/>
          <a:p>
            <a:r>
              <a:rPr lang="en-US" sz="2800" dirty="0"/>
              <a:t>Maine – Sexual Harassment</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796942"/>
            <a:ext cx="8435667" cy="4761411"/>
          </a:xfrm>
        </p:spPr>
        <p:txBody>
          <a:bodyPr>
            <a:noAutofit/>
          </a:bodyPr>
          <a:lstStyle/>
          <a:p>
            <a:pPr marL="0" indent="0">
              <a:buNone/>
            </a:pPr>
            <a:r>
              <a:rPr lang="en-US" sz="2000" dirty="0"/>
              <a:t>Maine Human Rights Act prohibits sexual harassment.</a:t>
            </a:r>
          </a:p>
          <a:p>
            <a:pPr marL="0" indent="0">
              <a:buNone/>
            </a:pPr>
            <a:endParaRPr lang="en-US" sz="2000" dirty="0"/>
          </a:p>
          <a:p>
            <a:pPr marL="0" indent="0">
              <a:buNone/>
            </a:pPr>
            <a:r>
              <a:rPr lang="en-US" sz="2000" dirty="0"/>
              <a:t>Sexual harassment is unwelcome sexual advances, requests for sexual favors, and other verbal or physical conduct of a sexual nature which threatens:</a:t>
            </a:r>
          </a:p>
          <a:p>
            <a:r>
              <a:rPr lang="en-US" sz="2000" dirty="0"/>
              <a:t>job security, </a:t>
            </a:r>
          </a:p>
          <a:p>
            <a:r>
              <a:rPr lang="en-US" sz="2000" dirty="0"/>
              <a:t>working conditions, or </a:t>
            </a:r>
          </a:p>
          <a:p>
            <a:r>
              <a:rPr lang="en-US" sz="2000" dirty="0"/>
              <a:t>advancement of opportunities.</a:t>
            </a:r>
          </a:p>
          <a:p>
            <a:pPr marL="0" indent="0">
              <a:buNone/>
            </a:pPr>
            <a:r>
              <a:rPr lang="en-US" sz="2000" dirty="0"/>
              <a:t>Includes retaliation for complaining about sexual harassment.</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2656022"/>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908810"/>
            <a:ext cx="8435667" cy="4761411"/>
          </a:xfrm>
        </p:spPr>
        <p:txBody>
          <a:bodyPr>
            <a:noAutofit/>
          </a:bodyPr>
          <a:lstStyle/>
          <a:p>
            <a:pPr marL="0" indent="0">
              <a:buNone/>
            </a:pPr>
            <a:r>
              <a:rPr lang="en-US" sz="2000" dirty="0"/>
              <a:t>In addition to your employer’s internal complaint process, you can contact:</a:t>
            </a:r>
          </a:p>
          <a:p>
            <a:pPr marL="0" indent="0">
              <a:buNone/>
            </a:pPr>
            <a:endParaRPr lang="en-US" sz="2000" dirty="0"/>
          </a:p>
          <a:p>
            <a:pPr marL="0" indent="0">
              <a:buNone/>
            </a:pPr>
            <a:r>
              <a:rPr lang="en-US" sz="2000" dirty="0"/>
              <a:t>Maine Human Rights Commission</a:t>
            </a:r>
          </a:p>
          <a:p>
            <a:pPr marL="0" indent="0">
              <a:buNone/>
            </a:pPr>
            <a:r>
              <a:rPr lang="en-US" sz="2000" dirty="0"/>
              <a:t>51 State House Station, Augusta, Maine 04333-0051</a:t>
            </a:r>
          </a:p>
          <a:p>
            <a:pPr marL="0" indent="0">
              <a:buNone/>
            </a:pPr>
            <a:r>
              <a:rPr lang="en-US" sz="2000" dirty="0"/>
              <a:t>Phone: (207) 624-6290</a:t>
            </a:r>
          </a:p>
          <a:p>
            <a:pPr marL="0" indent="0">
              <a:buNone/>
            </a:pPr>
            <a:r>
              <a:rPr lang="en-US" sz="2000" dirty="0"/>
              <a:t>Fax: (207) 624-8729</a:t>
            </a:r>
          </a:p>
          <a:p>
            <a:pPr marL="0" indent="0">
              <a:buNone/>
            </a:pPr>
            <a:r>
              <a:rPr lang="en-US" sz="2000" dirty="0">
                <a:hlinkClick r:id="rId2"/>
              </a:rPr>
              <a:t>http://www.maine.gov/mhrc</a:t>
            </a: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630743"/>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83000"/>
          </a:schemeClr>
        </a:solidFill>
        <a:effectLst/>
      </p:bgPr>
    </p:bg>
    <p:spTree>
      <p:nvGrpSpPr>
        <p:cNvPr id="1" name=""/>
        <p:cNvGrpSpPr/>
        <p:nvPr/>
      </p:nvGrpSpPr>
      <p:grpSpPr>
        <a:xfrm>
          <a:off x="0" y="0"/>
          <a:ext cx="0" cy="0"/>
          <a:chOff x="0" y="0"/>
          <a:chExt cx="0" cy="0"/>
        </a:xfrm>
      </p:grpSpPr>
      <p:pic>
        <p:nvPicPr>
          <p:cNvPr id="6" name="Picture 5" descr="A group of colorful blocks with people icons">
            <a:extLst>
              <a:ext uri="{FF2B5EF4-FFF2-40B4-BE49-F238E27FC236}">
                <a16:creationId xmlns:a16="http://schemas.microsoft.com/office/drawing/2014/main" id="{8BE666DB-2117-0DB4-53E8-C98B8216801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5900"/>
                    </a14:imgEffect>
                    <a14:imgEffect>
                      <a14:saturation sat="300000"/>
                    </a14:imgEffect>
                  </a14:imgLayer>
                </a14:imgProps>
              </a:ext>
              <a:ext uri="{837473B0-CC2E-450A-ABE3-18F120FF3D39}">
                <a1611:picAttrSrcUrl xmlns:a1611="http://schemas.microsoft.com/office/drawing/2016/11/main" r:id="rId5"/>
              </a:ext>
            </a:extLst>
          </a:blip>
          <a:stretch>
            <a:fillRect/>
          </a:stretch>
        </p:blipFill>
        <p:spPr>
          <a:xfrm rot="21226066">
            <a:off x="-1037809" y="988135"/>
            <a:ext cx="11591086" cy="6519985"/>
          </a:xfrm>
          <a:prstGeom prst="rect">
            <a:avLst/>
          </a:prstGeom>
        </p:spPr>
      </p:pic>
      <p:sp>
        <p:nvSpPr>
          <p:cNvPr id="2" name="Title 1">
            <a:extLst>
              <a:ext uri="{FF2B5EF4-FFF2-40B4-BE49-F238E27FC236}">
                <a16:creationId xmlns:a16="http://schemas.microsoft.com/office/drawing/2014/main" id="{21FF5FBC-3037-4D3F-8933-E634C55924D7}"/>
              </a:ext>
            </a:extLst>
          </p:cNvPr>
          <p:cNvSpPr>
            <a:spLocks noGrp="1"/>
          </p:cNvSpPr>
          <p:nvPr>
            <p:ph type="title"/>
          </p:nvPr>
        </p:nvSpPr>
        <p:spPr>
          <a:xfrm>
            <a:off x="790526" y="113650"/>
            <a:ext cx="7358907" cy="787032"/>
          </a:xfrm>
        </p:spPr>
        <p:txBody>
          <a:bodyPr/>
          <a:lstStyle/>
          <a:p>
            <a:r>
              <a:rPr lang="en-US" sz="2800" b="1" dirty="0"/>
              <a:t>Who is protected against harassment? </a:t>
            </a:r>
          </a:p>
        </p:txBody>
      </p:sp>
      <p:sp>
        <p:nvSpPr>
          <p:cNvPr id="5" name="Slide Number Placeholder 4">
            <a:extLst>
              <a:ext uri="{FF2B5EF4-FFF2-40B4-BE49-F238E27FC236}">
                <a16:creationId xmlns:a16="http://schemas.microsoft.com/office/drawing/2014/main" id="{4272448E-1CAA-4EF1-A9C1-52547A35B05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530AF6C-CEEF-CD84-A06F-693BAA6473F6}"/>
              </a:ext>
            </a:extLst>
          </p:cNvPr>
          <p:cNvSpPr txBox="1"/>
          <p:nvPr/>
        </p:nvSpPr>
        <p:spPr>
          <a:xfrm>
            <a:off x="341168" y="2000250"/>
            <a:ext cx="5230957" cy="403187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All employe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dirty="0">
                <a:solidFill>
                  <a:prstClr val="black"/>
                </a:solidFill>
                <a:latin typeface="Calibri" panose="020F0502020204030204"/>
              </a:rPr>
              <a:t>Job applica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In many states, independent contracto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dirty="0">
                <a:solidFill>
                  <a:prstClr val="black"/>
                </a:solidFill>
                <a:latin typeface="Calibri" panose="020F0502020204030204"/>
              </a:rPr>
              <a:t>Obligation to protect customers, suppliers, and others we encounter in our work </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3145254"/>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81001" y="190500"/>
            <a:ext cx="7358907" cy="787032"/>
          </a:xfrm>
        </p:spPr>
        <p:txBody>
          <a:bodyPr/>
          <a:lstStyle/>
          <a:p>
            <a:r>
              <a:rPr lang="en-US" sz="2800" dirty="0"/>
              <a:t>Maryland – Protected classe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723160"/>
            <a:ext cx="8435667" cy="4761411"/>
          </a:xfrm>
        </p:spPr>
        <p:txBody>
          <a:bodyPr>
            <a:noAutofit/>
          </a:bodyPr>
          <a:lstStyle/>
          <a:p>
            <a:pPr marL="0" indent="0">
              <a:buNone/>
            </a:pPr>
            <a:r>
              <a:rPr lang="en-US" sz="2000" dirty="0"/>
              <a:t>Prohibits employment discrimination based on:</a:t>
            </a:r>
          </a:p>
          <a:p>
            <a:r>
              <a:rPr lang="en-US" sz="2000" dirty="0"/>
              <a:t>Race (includes hair texture, afro hairstyles, and protective hairstyles)</a:t>
            </a:r>
          </a:p>
          <a:p>
            <a:r>
              <a:rPr lang="en-US" sz="2000" dirty="0"/>
              <a:t>Color</a:t>
            </a:r>
          </a:p>
          <a:p>
            <a:r>
              <a:rPr lang="en-US" sz="2000" dirty="0"/>
              <a:t>Religion</a:t>
            </a:r>
          </a:p>
          <a:p>
            <a:r>
              <a:rPr lang="en-US" sz="2000" dirty="0"/>
              <a:t>Ancestry or national origin</a:t>
            </a:r>
          </a:p>
          <a:p>
            <a:r>
              <a:rPr lang="en-US" sz="2000" dirty="0"/>
              <a:t>Sex</a:t>
            </a:r>
          </a:p>
          <a:p>
            <a:r>
              <a:rPr lang="en-US" sz="2000" dirty="0"/>
              <a:t>Age</a:t>
            </a:r>
          </a:p>
          <a:p>
            <a:r>
              <a:rPr lang="en-US" sz="2000" dirty="0"/>
              <a:t>Marital status</a:t>
            </a:r>
          </a:p>
          <a:p>
            <a:r>
              <a:rPr lang="en-US" sz="2000" dirty="0"/>
              <a:t>Sexual orientation</a:t>
            </a:r>
          </a:p>
          <a:p>
            <a:r>
              <a:rPr lang="en-US" sz="2000" dirty="0"/>
              <a:t>Gender identity</a:t>
            </a:r>
          </a:p>
          <a:p>
            <a:r>
              <a:rPr lang="en-US" sz="2000" dirty="0"/>
              <a:t>Disability</a:t>
            </a:r>
          </a:p>
          <a:p>
            <a:r>
              <a:rPr lang="en-US" sz="2000" dirty="0"/>
              <a:t>Genetic information, or refusal to submit to a genetic test</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6335229"/>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Maryland – Harassment and Sexual Harassment</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475510"/>
            <a:ext cx="8435667" cy="4761411"/>
          </a:xfrm>
        </p:spPr>
        <p:txBody>
          <a:bodyPr>
            <a:noAutofit/>
          </a:bodyPr>
          <a:lstStyle/>
          <a:p>
            <a:pPr marL="0" indent="0">
              <a:buNone/>
            </a:pPr>
            <a:r>
              <a:rPr lang="en-US" sz="1800" dirty="0"/>
              <a:t>In contrast to Federal precedents, Maryland law expressly states that Harassment and Sexual Harassment “need not be severe or pervasive.” This may have the effect of lowering the bar for upholding allegations of harassment and sexual harassment.</a:t>
            </a:r>
          </a:p>
          <a:p>
            <a:pPr marL="0" indent="0">
              <a:buNone/>
            </a:pPr>
            <a:r>
              <a:rPr lang="en-US" sz="1800" dirty="0"/>
              <a:t>Harassment consists of unwelcome and offensive conduct based on a protected class.</a:t>
            </a:r>
          </a:p>
          <a:p>
            <a:pPr marL="0" indent="0">
              <a:buNone/>
            </a:pPr>
            <a:r>
              <a:rPr lang="en-US" sz="1800" dirty="0"/>
              <a:t>Sexual harassment consists of unwelcome sexual advances, requests for sexual favors, or other conduct of a sexual nature.</a:t>
            </a:r>
          </a:p>
          <a:p>
            <a:pPr marL="0" indent="0">
              <a:buNone/>
            </a:pPr>
            <a:r>
              <a:rPr lang="en-US" sz="1800" dirty="0"/>
              <a:t>Both harassment and sexual harassment entail at least one of three conditions:</a:t>
            </a:r>
          </a:p>
          <a:p>
            <a:r>
              <a:rPr lang="en-US" sz="1800" dirty="0"/>
              <a:t>submission to the conduct is made either explicitly or implicitly a term or condition of employment of an individual; OR</a:t>
            </a:r>
          </a:p>
          <a:p>
            <a:r>
              <a:rPr lang="en-US" sz="1800" dirty="0"/>
              <a:t>submission to or rejection of the conduct is used as a basis for employment decisions affecting the individual; OR </a:t>
            </a:r>
          </a:p>
          <a:p>
            <a:r>
              <a:rPr lang="en-US" sz="1800" dirty="0"/>
              <a:t>based on the totality of the circumstances, the conduct unreasonably creates a working environment that a reasonable person would perceive to be abusive or hostile.</a:t>
            </a:r>
          </a:p>
          <a:p>
            <a:pPr marL="0" indent="0">
              <a:buNone/>
            </a:pPr>
            <a:r>
              <a:rPr lang="en-US" sz="1800" dirty="0"/>
              <a:t>Maryland law says employers must not discriminate or retaliate against any employee or applicant for opposing unlawful discrimination or harassment, or for making a complaint, testifying, assisting, or participating in any manner in an investigation, proceeding, or hearing.</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9882133"/>
      </p:ext>
    </p:extLst>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800" dirty="0"/>
              <a:t>Persons who have experienced unlawful discrimination or harassment in Maryland may consult their employer’s internal complaint procedures or contact the Maryland Commission on Civil Rights. A complaint of harassment against an employer must be submitted within two years of the alleged incident.</a:t>
            </a:r>
          </a:p>
          <a:p>
            <a:pPr marL="0" indent="0">
              <a:buNone/>
            </a:pPr>
            <a:endParaRPr lang="en-US" sz="1800" dirty="0"/>
          </a:p>
          <a:p>
            <a:pPr marL="0" indent="0">
              <a:buNone/>
            </a:pPr>
            <a:r>
              <a:rPr lang="en-US" sz="1800" dirty="0"/>
              <a:t>Maryland Commission on Civil Rights</a:t>
            </a:r>
          </a:p>
          <a:p>
            <a:pPr marL="0" indent="0">
              <a:buNone/>
            </a:pPr>
            <a:r>
              <a:rPr lang="en-US" sz="1800" dirty="0"/>
              <a:t>Address: 6 Saint Paul Street, Suite 900, Baltimore, MD 21202-1631</a:t>
            </a:r>
          </a:p>
          <a:p>
            <a:pPr marL="0" indent="0">
              <a:buNone/>
            </a:pPr>
            <a:r>
              <a:rPr lang="en-US" sz="1800" dirty="0"/>
              <a:t>Phone: 800-637-6247 / 410-767-8600 </a:t>
            </a:r>
          </a:p>
          <a:p>
            <a:pPr marL="0" indent="0">
              <a:buNone/>
            </a:pPr>
            <a:r>
              <a:rPr lang="en-US" sz="1800" dirty="0"/>
              <a:t>Email: mccr@maryland.gov</a:t>
            </a:r>
          </a:p>
          <a:p>
            <a:pPr marL="0" indent="0">
              <a:buNone/>
            </a:pPr>
            <a:r>
              <a:rPr lang="en-US" sz="1800" dirty="0"/>
              <a:t>Website: </a:t>
            </a:r>
            <a:r>
              <a:rPr lang="en-US" sz="1800" dirty="0">
                <a:hlinkClick r:id="rId2"/>
              </a:rPr>
              <a:t>https://mccr.maryland.gov/Pages/default.aspx</a:t>
            </a:r>
            <a:endParaRPr lang="en-US" sz="1800" dirty="0"/>
          </a:p>
          <a:p>
            <a:pPr marL="0" indent="0">
              <a:buNone/>
            </a:pPr>
            <a:endParaRPr lang="en-US" sz="1800" dirty="0"/>
          </a:p>
          <a:p>
            <a:pPr marL="0" indent="0">
              <a:buNone/>
            </a:pPr>
            <a:r>
              <a:rPr lang="en-US" sz="1800" dirty="0"/>
              <a:t>Online complaint form: </a:t>
            </a:r>
            <a:r>
              <a:rPr lang="en-US" sz="1800" dirty="0">
                <a:hlinkClick r:id="rId3"/>
              </a:rPr>
              <a:t>https://doit.state.md.us/selectsurvey/TakeSurvey.aspx?PageNumber=1&amp;SurveyID=7423578&amp;Preview=true#</a:t>
            </a: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46057"/>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New York State and New York City Law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866035"/>
            <a:ext cx="8435667" cy="4761411"/>
          </a:xfrm>
        </p:spPr>
        <p:txBody>
          <a:bodyPr>
            <a:noAutofit/>
          </a:bodyPr>
          <a:lstStyle/>
          <a:p>
            <a:r>
              <a:rPr lang="en-US" sz="2400" dirty="0"/>
              <a:t>The New York State Human Rights Law and the New York City Human Rights Law explicitly prohibit sexual harassment and protect complainants or anyone else involved in an investigation from retaliation.</a:t>
            </a:r>
          </a:p>
          <a:p>
            <a:r>
              <a:rPr lang="en-US" sz="2400" dirty="0"/>
              <a:t>According to federal and state statutory provisions, every citizen deserves an “equal opportunity to enjoy a full and productive life." </a:t>
            </a:r>
          </a:p>
          <a:p>
            <a:r>
              <a:rPr lang="en-US" sz="2400" dirty="0"/>
              <a:t>Sexual harassment is a form of unlawful discrimination under federal, state, and local laws (where applicable).</a:t>
            </a:r>
          </a:p>
          <a:p>
            <a:pPr marL="0" indent="0">
              <a:buNone/>
            </a:pPr>
            <a:endParaRPr lang="en-US" sz="2400" dirty="0"/>
          </a:p>
          <a:p>
            <a:pPr marL="0" indent="0">
              <a:buNone/>
            </a:pPr>
            <a:endParaRPr lang="en-US" sz="24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324792"/>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227563"/>
            <a:ext cx="7358907" cy="787032"/>
          </a:xfrm>
        </p:spPr>
        <p:txBody>
          <a:bodyPr/>
          <a:lstStyle/>
          <a:p>
            <a:r>
              <a:rPr lang="en-US" sz="2800" dirty="0"/>
              <a:t>New York – Protected Classe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475510"/>
            <a:ext cx="8435667" cy="4761411"/>
          </a:xfrm>
        </p:spPr>
        <p:txBody>
          <a:bodyPr>
            <a:noAutofit/>
          </a:bodyPr>
          <a:lstStyle/>
          <a:p>
            <a:pPr marL="0" indent="0">
              <a:buNone/>
            </a:pPr>
            <a:r>
              <a:rPr lang="en-US" sz="2000" dirty="0"/>
              <a:t>New York State and New York City laws prohibit discrimination based on: </a:t>
            </a:r>
          </a:p>
          <a:p>
            <a:pPr marL="0" indent="0">
              <a:buNone/>
            </a:pPr>
            <a:endParaRPr lang="en-US" sz="2000" dirty="0"/>
          </a:p>
          <a:p>
            <a:r>
              <a:rPr lang="en-US" sz="2000" dirty="0"/>
              <a:t>Race, color, national origin (and in NYC: immigration status)</a:t>
            </a:r>
          </a:p>
          <a:p>
            <a:r>
              <a:rPr lang="en-US" sz="2000" dirty="0"/>
              <a:t>Religion or creed</a:t>
            </a:r>
          </a:p>
          <a:p>
            <a:r>
              <a:rPr lang="en-US" sz="2000" dirty="0"/>
              <a:t>Sex, sexual orientation, and gender identity or expression</a:t>
            </a:r>
          </a:p>
          <a:p>
            <a:r>
              <a:rPr lang="en-US" sz="2000" dirty="0"/>
              <a:t>Military or veteran status</a:t>
            </a:r>
          </a:p>
          <a:p>
            <a:r>
              <a:rPr lang="en-US" sz="2000" dirty="0"/>
              <a:t>Age, disability, or predisposing genetic characteristics</a:t>
            </a:r>
          </a:p>
          <a:p>
            <a:r>
              <a:rPr lang="en-US" sz="2000" dirty="0"/>
              <a:t>Familial status, marital status (and in NYC: partnership status)</a:t>
            </a:r>
          </a:p>
          <a:p>
            <a:r>
              <a:rPr lang="en-US" sz="2000" dirty="0"/>
              <a:t>Domestic violence victim status (and in NYC: stalking)</a:t>
            </a:r>
          </a:p>
          <a:p>
            <a:r>
              <a:rPr lang="en-US" sz="2000" dirty="0"/>
              <a:t>Pregnancy-related condition</a:t>
            </a:r>
          </a:p>
          <a:p>
            <a:r>
              <a:rPr lang="en-US" sz="2000" dirty="0"/>
              <a:t>Prior arrest or conviction record</a:t>
            </a:r>
          </a:p>
          <a:p>
            <a:r>
              <a:rPr lang="en-US" sz="2000" dirty="0"/>
              <a:t>And in NYC: Caregiver status, credit or salary history, unemployment status, pre-employment marijuana testing, and sexual or reproductive health decisions</a:t>
            </a:r>
          </a:p>
          <a:p>
            <a:pPr marL="0" indent="0">
              <a:buNone/>
            </a:pPr>
            <a:endParaRPr lang="en-US" sz="2000" dirty="0"/>
          </a:p>
          <a:p>
            <a:pPr marL="0" indent="0">
              <a:buNone/>
            </a:pP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1683728"/>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00051" y="227563"/>
            <a:ext cx="7358907" cy="787032"/>
          </a:xfrm>
        </p:spPr>
        <p:txBody>
          <a:bodyPr/>
          <a:lstStyle/>
          <a:p>
            <a:r>
              <a:rPr lang="en-US" sz="2800" dirty="0"/>
              <a:t>New York – Key Provision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869026"/>
            <a:ext cx="8435667" cy="4761411"/>
          </a:xfrm>
        </p:spPr>
        <p:txBody>
          <a:bodyPr>
            <a:noAutofit/>
          </a:bodyPr>
          <a:lstStyle/>
          <a:p>
            <a:r>
              <a:rPr lang="en-US" sz="2000" dirty="0"/>
              <a:t>The law prohibits retaliation for opposing any unlawful discrimination or filing a complaint, testifying, or assisting in any proceeding concerning unlawful discrimination.</a:t>
            </a:r>
          </a:p>
          <a:p>
            <a:r>
              <a:rPr lang="en-US" sz="2000" dirty="0"/>
              <a:t>Under New York State law, harassment does not have to be "severe or pervasive" for the employer to be liable. The severe or pervasive standard was established by the U.S. Supreme Court and is used in most jurisdictions.</a:t>
            </a:r>
          </a:p>
          <a:p>
            <a:r>
              <a:rPr lang="en-US" sz="2000" dirty="0"/>
              <a:t>It is important to understand, however, that New York law goes beyond this standard. The harassing conduct does not have to be repeated to be unlawful. </a:t>
            </a:r>
          </a:p>
          <a:p>
            <a:r>
              <a:rPr lang="en-US" sz="2000" dirty="0"/>
              <a:t>The conduct just has to consist of more than petty slights or trivial inconveniences.</a:t>
            </a:r>
          </a:p>
          <a:p>
            <a:pPr marL="0" indent="0">
              <a:buNone/>
            </a:pPr>
            <a:endParaRPr lang="en-US" sz="20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161551"/>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800" dirty="0"/>
              <a:t>In addition to your employer's complaint process, you also have other ways to submit a harassment or discrimination complaint:</a:t>
            </a:r>
          </a:p>
          <a:p>
            <a:pPr marL="0" indent="0">
              <a:buNone/>
            </a:pPr>
            <a:endParaRPr lang="en-US" sz="1800" dirty="0"/>
          </a:p>
          <a:p>
            <a:pPr marL="0" indent="0">
              <a:buNone/>
            </a:pPr>
            <a:r>
              <a:rPr lang="en-US" sz="1800" dirty="0"/>
              <a:t>In New York City: To file a complaint with the New York City Commission on Human Rights, please call 311 or (718) 722-3131. You can find the New York City Commission on Human Rights at the following link: </a:t>
            </a:r>
            <a:r>
              <a:rPr lang="en-US" sz="1800" dirty="0">
                <a:hlinkClick r:id="rId2"/>
              </a:rPr>
              <a:t>http://www1.nyc.gov/site/cchr/index.page</a:t>
            </a:r>
            <a:endParaRPr lang="en-US" sz="1800" dirty="0"/>
          </a:p>
          <a:p>
            <a:pPr marL="0" indent="0">
              <a:buNone/>
            </a:pPr>
            <a:r>
              <a:rPr lang="en-US" sz="1800" dirty="0"/>
              <a:t>In New York State: To file a complaint with the New York State Division of Human Rights, call 1-888-392-3644 or go to the following link: </a:t>
            </a:r>
            <a:r>
              <a:rPr lang="en-US" sz="1800" dirty="0">
                <a:hlinkClick r:id="rId3"/>
              </a:rPr>
              <a:t>https://dhr.ny.gov</a:t>
            </a:r>
            <a:r>
              <a:rPr lang="en-US" sz="1800" dirty="0"/>
              <a:t> and click on File a Complaint. Once a complaint is filed, the Division of Human Rights will investigate and may present the case in a public hearing.</a:t>
            </a:r>
          </a:p>
          <a:p>
            <a:pPr marL="0" indent="0">
              <a:buNone/>
            </a:pPr>
            <a:r>
              <a:rPr lang="en-US" sz="1800" dirty="0"/>
              <a:t>New York requires you receive a copy of the information concerning sexual harassment prevention found in this training. </a:t>
            </a:r>
          </a:p>
          <a:p>
            <a:pPr marL="0" indent="0">
              <a:buNone/>
            </a:pPr>
            <a:r>
              <a:rPr lang="en-US" sz="1800" b="1" dirty="0">
                <a:hlinkClick r:id="rId4"/>
              </a:rPr>
              <a:t>Provide a copy of these materials: </a:t>
            </a:r>
            <a:r>
              <a:rPr lang="en-US" sz="1800" dirty="0">
                <a:hlinkClick r:id="rId4"/>
              </a:rPr>
              <a:t>https://content.willinteractive.com/public/pdfs/common-ground/ny-supplemental-information.pdf</a:t>
            </a:r>
            <a:r>
              <a:rPr lang="en-US" sz="1800" dirty="0"/>
              <a:t> </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4182166"/>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81001" y="227563"/>
            <a:ext cx="7358907" cy="787032"/>
          </a:xfrm>
        </p:spPr>
        <p:txBody>
          <a:bodyPr/>
          <a:lstStyle/>
          <a:p>
            <a:r>
              <a:rPr lang="en-US" sz="2800" dirty="0"/>
              <a:t>Oregon State Law</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869026"/>
            <a:ext cx="8435667" cy="4761411"/>
          </a:xfrm>
        </p:spPr>
        <p:txBody>
          <a:bodyPr>
            <a:noAutofit/>
          </a:bodyPr>
          <a:lstStyle/>
          <a:p>
            <a:r>
              <a:rPr lang="en-US" sz="2000" dirty="0"/>
              <a:t>Under Oregon law, sexual harassment is unlawful discrimination based on sex and includes unwelcome sexual advances, requests for sexual favors, or other conduct of a sexual nature. The law specifically prohibits such conduct when submission to it becomes a condition of employment, or it is used as a basis for employment decisions.</a:t>
            </a:r>
          </a:p>
          <a:p>
            <a:r>
              <a:rPr lang="en-US" sz="2000" dirty="0"/>
              <a:t>The standard for determining harassment is based on the conduct being sufficiently severe or pervasive to create a hostile, intimidating, or offensive work environment as it would be perceived by a reasonable person in the same circumstances. </a:t>
            </a:r>
          </a:p>
          <a:p>
            <a:r>
              <a:rPr lang="en-US" sz="2000" dirty="0"/>
              <a:t>Employers are liable for sexual harassment if they knew of the harassment and failed to take immediate corrective action.</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330332"/>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19101" y="227563"/>
            <a:ext cx="7358907" cy="787032"/>
          </a:xfrm>
        </p:spPr>
        <p:txBody>
          <a:bodyPr/>
          <a:lstStyle/>
          <a:p>
            <a:r>
              <a:rPr lang="en-US" sz="2800" dirty="0"/>
              <a:t>Oregon – Protected Classes</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475510"/>
            <a:ext cx="8435667" cy="4761411"/>
          </a:xfrm>
        </p:spPr>
        <p:txBody>
          <a:bodyPr>
            <a:noAutofit/>
          </a:bodyPr>
          <a:lstStyle/>
          <a:p>
            <a:pPr marL="0" indent="0">
              <a:buNone/>
            </a:pPr>
            <a:r>
              <a:rPr lang="en-US" sz="1800" dirty="0"/>
              <a:t>Oregon prohibits discrimination based on:</a:t>
            </a:r>
          </a:p>
          <a:p>
            <a:r>
              <a:rPr lang="en-US" sz="1800" dirty="0"/>
              <a:t>Race, color</a:t>
            </a:r>
          </a:p>
          <a:p>
            <a:r>
              <a:rPr lang="en-US" sz="1800" dirty="0"/>
              <a:t>Association with persons of another race</a:t>
            </a:r>
          </a:p>
          <a:p>
            <a:r>
              <a:rPr lang="en-US" sz="1800" dirty="0"/>
              <a:t>National origin, immigration status</a:t>
            </a:r>
          </a:p>
          <a:p>
            <a:r>
              <a:rPr lang="en-US" sz="1800" dirty="0"/>
              <a:t>Age (18 and older)</a:t>
            </a:r>
          </a:p>
          <a:p>
            <a:r>
              <a:rPr lang="en-US" sz="1800" dirty="0"/>
              <a:t>Religion, religious accommodation</a:t>
            </a:r>
          </a:p>
          <a:p>
            <a:r>
              <a:rPr lang="en-US" sz="1800" dirty="0"/>
              <a:t>Actual or perceived disability or accommodation such as a service animal</a:t>
            </a:r>
          </a:p>
          <a:p>
            <a:r>
              <a:rPr lang="en-US" sz="1800" dirty="0"/>
              <a:t>Marital status, family relationship, caregiver status</a:t>
            </a:r>
          </a:p>
          <a:p>
            <a:r>
              <a:rPr lang="en-US" sz="1800" dirty="0"/>
              <a:t>Sex, sexual orientation, gender, gender identity </a:t>
            </a:r>
          </a:p>
          <a:p>
            <a:r>
              <a:rPr lang="en-US" sz="1800" dirty="0"/>
              <a:t>Juvenile record (expunged under Oregon law)</a:t>
            </a:r>
          </a:p>
          <a:p>
            <a:r>
              <a:rPr lang="en-US" sz="1800" dirty="0"/>
              <a:t>Uniformed service status</a:t>
            </a:r>
          </a:p>
          <a:p>
            <a:r>
              <a:rPr lang="en-US" sz="1800" dirty="0"/>
              <a:t>HIV or Hepatitis C</a:t>
            </a:r>
          </a:p>
          <a:p>
            <a:r>
              <a:rPr lang="en-US" sz="1800" dirty="0"/>
              <a:t>Pregnancy, breastfeeding</a:t>
            </a:r>
          </a:p>
          <a:p>
            <a:r>
              <a:rPr lang="en-US" sz="1800" dirty="0"/>
              <a:t>Whistleblower status and reporting violations of law, unequal pay, or unsafe working conditions</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1961113"/>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Oregon – Prohibition of Retaliation</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723160"/>
            <a:ext cx="8435667" cy="4761411"/>
          </a:xfrm>
        </p:spPr>
        <p:txBody>
          <a:bodyPr>
            <a:noAutofit/>
          </a:bodyPr>
          <a:lstStyle/>
          <a:p>
            <a:r>
              <a:rPr lang="en-US" sz="2000" dirty="0"/>
              <a:t>Oregon law prohibits retaliation against an employee who - in good faith - files a wage claim or civil rights complaint. </a:t>
            </a:r>
          </a:p>
          <a:p>
            <a:r>
              <a:rPr lang="en-US" sz="2000" dirty="0"/>
              <a:t>Similarly, it is unlawful for an employer, union, or employment agency to discriminate against anyone because of opposition to practices forbidden by civil rights law or because of a complaint or testimony given about a possible violation of the law.</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839372"/>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F5FBC-3037-4D3F-8933-E634C55924D7}"/>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en-US" b="1" kern="1200">
                <a:latin typeface="+mj-lt"/>
                <a:ea typeface="+mj-ea"/>
                <a:cs typeface="+mj-cs"/>
              </a:rPr>
              <a:t>Why Abusive Conduct? </a:t>
            </a:r>
          </a:p>
        </p:txBody>
      </p:sp>
      <p:sp>
        <p:nvSpPr>
          <p:cNvPr id="4" name="TextBox 3">
            <a:extLst>
              <a:ext uri="{FF2B5EF4-FFF2-40B4-BE49-F238E27FC236}">
                <a16:creationId xmlns:a16="http://schemas.microsoft.com/office/drawing/2014/main" id="{7530AF6C-CEEF-CD84-A06F-693BAA6473F6}"/>
              </a:ext>
            </a:extLst>
          </p:cNvPr>
          <p:cNvSpPr txBox="1"/>
          <p:nvPr/>
        </p:nvSpPr>
        <p:spPr>
          <a:xfrm>
            <a:off x="611387" y="2051685"/>
            <a:ext cx="3886200" cy="5135424"/>
          </a:xfrm>
          <a:prstGeom prst="rect">
            <a:avLst/>
          </a:prstGeom>
        </p:spPr>
        <p:txBody>
          <a:bodyPr vert="horz" lIns="91440" tIns="45720" rIns="91440" bIns="45720" rtlCol="0">
            <a:normAutofit/>
          </a:bodyPr>
          <a:lstStyle/>
          <a:p>
            <a:pPr marL="285750" marR="0" lvl="0" indent="-171438" defTabSz="685749" fontAlgn="auto">
              <a:lnSpc>
                <a:spcPct val="90000"/>
              </a:lnSpc>
              <a:spcBef>
                <a:spcPts val="0"/>
              </a:spcBef>
              <a:spcAft>
                <a:spcPts val="600"/>
              </a:spcAft>
              <a:buClrTx/>
              <a:buSzTx/>
              <a:buFont typeface="Arial" panose="020B0604020202020204" pitchFamily="34" charset="0"/>
              <a:buChar char="•"/>
              <a:tabLst/>
              <a:defRPr/>
            </a:pPr>
            <a:r>
              <a:rPr kumimoji="0" lang="en-US" sz="2400" b="0" i="0" u="none" strike="noStrike" cap="none" spc="0" normalizeH="0" baseline="0" noProof="0" dirty="0">
                <a:ln>
                  <a:noFill/>
                </a:ln>
                <a:effectLst/>
                <a:uLnTx/>
                <a:uFillTx/>
              </a:rPr>
              <a:t>Workplace Bullying</a:t>
            </a:r>
          </a:p>
          <a:p>
            <a:pPr marL="285750" marR="0" lvl="0" indent="-171438" defTabSz="685749" fontAlgn="auto">
              <a:lnSpc>
                <a:spcPct val="90000"/>
              </a:lnSpc>
              <a:spcBef>
                <a:spcPts val="0"/>
              </a:spcBef>
              <a:spcAft>
                <a:spcPts val="600"/>
              </a:spcAft>
              <a:buClrTx/>
              <a:buSzTx/>
              <a:buFont typeface="Arial" panose="020B0604020202020204" pitchFamily="34" charset="0"/>
              <a:buChar char="•"/>
              <a:tabLst/>
              <a:defRPr/>
            </a:pPr>
            <a:r>
              <a:rPr lang="en-US" sz="2400" dirty="0"/>
              <a:t>Can create toxic and unproductive environment </a:t>
            </a:r>
          </a:p>
          <a:p>
            <a:pPr marL="285750" marR="0" lvl="0" indent="-171438" defTabSz="685749" fontAlgn="auto">
              <a:lnSpc>
                <a:spcPct val="90000"/>
              </a:lnSpc>
              <a:spcBef>
                <a:spcPts val="0"/>
              </a:spcBef>
              <a:spcAft>
                <a:spcPts val="600"/>
              </a:spcAft>
              <a:buClrTx/>
              <a:buSzTx/>
              <a:buFont typeface="Arial" panose="020B0604020202020204" pitchFamily="34" charset="0"/>
              <a:buChar char="•"/>
              <a:tabLst/>
              <a:defRPr/>
            </a:pPr>
            <a:r>
              <a:rPr kumimoji="0" lang="en-US" sz="2400" b="0" i="0" u="none" strike="noStrike" cap="none" spc="0" normalizeH="0" baseline="0" noProof="0" dirty="0">
                <a:ln>
                  <a:noFill/>
                </a:ln>
                <a:effectLst/>
                <a:uLnTx/>
                <a:uFillTx/>
              </a:rPr>
              <a:t>Abuse can occur at every level</a:t>
            </a:r>
          </a:p>
          <a:p>
            <a:pPr marL="285750" marR="0" lvl="0" indent="-171438" defTabSz="685749" fontAlgn="auto">
              <a:lnSpc>
                <a:spcPct val="90000"/>
              </a:lnSpc>
              <a:spcBef>
                <a:spcPts val="0"/>
              </a:spcBef>
              <a:spcAft>
                <a:spcPts val="600"/>
              </a:spcAft>
              <a:buClrTx/>
              <a:buSzTx/>
              <a:buFont typeface="Arial" panose="020B0604020202020204" pitchFamily="34" charset="0"/>
              <a:buChar char="•"/>
              <a:tabLst/>
              <a:defRPr/>
            </a:pPr>
            <a:r>
              <a:rPr lang="en-US" sz="2400" dirty="0"/>
              <a:t>Many targets remain silent</a:t>
            </a:r>
          </a:p>
          <a:p>
            <a:pPr marL="285750" marR="0" lvl="0" indent="-171438" defTabSz="685749" fontAlgn="auto">
              <a:lnSpc>
                <a:spcPct val="90000"/>
              </a:lnSpc>
              <a:spcBef>
                <a:spcPts val="0"/>
              </a:spcBef>
              <a:spcAft>
                <a:spcPts val="600"/>
              </a:spcAft>
              <a:buClrTx/>
              <a:buSzTx/>
              <a:buFont typeface="Arial" panose="020B0604020202020204" pitchFamily="34" charset="0"/>
              <a:buChar char="•"/>
              <a:tabLst/>
              <a:defRPr/>
            </a:pPr>
            <a:r>
              <a:rPr kumimoji="0" lang="en-US" sz="2400" b="0" i="0" u="none" strike="noStrike" cap="none" spc="0" normalizeH="0" baseline="0" noProof="0" dirty="0">
                <a:ln>
                  <a:noFill/>
                </a:ln>
                <a:effectLst/>
                <a:uLnTx/>
                <a:uFillTx/>
              </a:rPr>
              <a:t>Abuse can have destructive consequences </a:t>
            </a:r>
          </a:p>
        </p:txBody>
      </p:sp>
      <p:pic>
        <p:nvPicPr>
          <p:cNvPr id="6" name="Content Placeholder 5" descr="A group of people talking&#10;&#10;Description automatically generated">
            <a:extLst>
              <a:ext uri="{FF2B5EF4-FFF2-40B4-BE49-F238E27FC236}">
                <a16:creationId xmlns:a16="http://schemas.microsoft.com/office/drawing/2014/main" id="{8932DAF1-56B3-71CD-EE11-FBDF213FEF56}"/>
              </a:ext>
            </a:extLst>
          </p:cNvPr>
          <p:cNvPicPr>
            <a:picLocks noGrp="1" noChangeAspect="1"/>
          </p:cNvPicPr>
          <p:nvPr>
            <p:ph sz="half" idx="2"/>
          </p:nvPr>
        </p:nvPicPr>
        <p:blipFill>
          <a:blip r:embed="rId3"/>
          <a:stretch>
            <a:fillRect/>
          </a:stretch>
        </p:blipFill>
        <p:spPr>
          <a:xfrm>
            <a:off x="4646414" y="1508125"/>
            <a:ext cx="3851672" cy="5135563"/>
          </a:xfrm>
        </p:spPr>
      </p:pic>
      <p:sp>
        <p:nvSpPr>
          <p:cNvPr id="5" name="Slide Number Placeholder 4" hidden="1">
            <a:extLst>
              <a:ext uri="{FF2B5EF4-FFF2-40B4-BE49-F238E27FC236}">
                <a16:creationId xmlns:a16="http://schemas.microsoft.com/office/drawing/2014/main" id="{4272448E-1CAA-4EF1-A9C1-52547A35B05F}"/>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947025"/>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800" dirty="0"/>
              <a:t>In addition to your employer’s internal complaint process, you may file a complaint - within one year of the discriminatory action or harm - with:</a:t>
            </a:r>
          </a:p>
          <a:p>
            <a:pPr marL="0" indent="0">
              <a:buNone/>
            </a:pPr>
            <a:endParaRPr lang="en-US" sz="1800" dirty="0"/>
          </a:p>
          <a:p>
            <a:pPr marL="0" indent="0">
              <a:buNone/>
            </a:pPr>
            <a:r>
              <a:rPr lang="en-US" sz="1800" dirty="0"/>
              <a:t>Oregon Bureau of Labor and Industries (BOLI)</a:t>
            </a:r>
          </a:p>
          <a:p>
            <a:pPr marL="0" indent="0">
              <a:buNone/>
            </a:pPr>
            <a:r>
              <a:rPr lang="en-US" sz="1800" dirty="0"/>
              <a:t>Civil Rights Division (CRD)</a:t>
            </a:r>
          </a:p>
          <a:p>
            <a:pPr marL="0" indent="0">
              <a:buNone/>
            </a:pPr>
            <a:r>
              <a:rPr lang="en-US" sz="1800" dirty="0"/>
              <a:t>800 NE Oregon St., Suite 1045</a:t>
            </a:r>
          </a:p>
          <a:p>
            <a:pPr marL="0" indent="0">
              <a:buNone/>
            </a:pPr>
            <a:r>
              <a:rPr lang="en-US" sz="1800" dirty="0"/>
              <a:t>Portland, OR 97232</a:t>
            </a:r>
          </a:p>
          <a:p>
            <a:pPr marL="0" indent="0">
              <a:buNone/>
            </a:pPr>
            <a:endParaRPr lang="en-US" sz="1800" dirty="0"/>
          </a:p>
          <a:p>
            <a:pPr marL="0" indent="0">
              <a:buNone/>
            </a:pPr>
            <a:r>
              <a:rPr lang="en-US" sz="1800" dirty="0"/>
              <a:t>Email: BOLI_help@boli.oregon.gov</a:t>
            </a:r>
          </a:p>
          <a:p>
            <a:pPr marL="0" indent="0">
              <a:buNone/>
            </a:pPr>
            <a:r>
              <a:rPr lang="en-US" sz="1800" dirty="0"/>
              <a:t>Phone: 971-673-0761</a:t>
            </a:r>
          </a:p>
          <a:p>
            <a:pPr marL="0" indent="0">
              <a:buNone/>
            </a:pPr>
            <a:r>
              <a:rPr lang="en-US" sz="1800" dirty="0"/>
              <a:t>The first step is to complete an online questionnaire at:</a:t>
            </a:r>
          </a:p>
          <a:p>
            <a:pPr marL="0" indent="0">
              <a:buNone/>
            </a:pPr>
            <a:r>
              <a:rPr lang="en-US" sz="1800" dirty="0">
                <a:hlinkClick r:id="rId2"/>
              </a:rPr>
              <a:t>https://www.oregon.gov/boli/workers/Pages/employment-discrimination-questionnaire.aspx</a:t>
            </a:r>
            <a:endParaRPr lang="en-US" sz="1800" dirty="0"/>
          </a:p>
          <a:p>
            <a:pPr marL="0" indent="0">
              <a:buNone/>
            </a:pPr>
            <a:r>
              <a:rPr lang="en-US" sz="1800" dirty="0"/>
              <a:t>Based on the information, an intake officer will prepare a complaint for your signature or contact you for clarification.</a:t>
            </a:r>
          </a:p>
          <a:p>
            <a:pPr marL="0" indent="0">
              <a:buNone/>
            </a:pPr>
            <a:endParaRPr lang="en-US" sz="18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7059887"/>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Washington State Law</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475510"/>
            <a:ext cx="8435667" cy="4761411"/>
          </a:xfrm>
        </p:spPr>
        <p:txBody>
          <a:bodyPr>
            <a:noAutofit/>
          </a:bodyPr>
          <a:lstStyle/>
          <a:p>
            <a:pPr marL="0" indent="0">
              <a:buNone/>
            </a:pPr>
            <a:r>
              <a:rPr lang="en-US" sz="1800" dirty="0"/>
              <a:t>Prohibits discrimination based on:</a:t>
            </a:r>
          </a:p>
          <a:p>
            <a:r>
              <a:rPr lang="en-US" sz="1800" dirty="0"/>
              <a:t>Race or color</a:t>
            </a:r>
          </a:p>
          <a:p>
            <a:r>
              <a:rPr lang="en-US" sz="1800" dirty="0"/>
              <a:t>National origin, citizenship, or immigration status</a:t>
            </a:r>
          </a:p>
          <a:p>
            <a:r>
              <a:rPr lang="en-US" sz="1800" dirty="0"/>
              <a:t>Creed</a:t>
            </a:r>
          </a:p>
          <a:p>
            <a:r>
              <a:rPr lang="en-US" sz="1800" dirty="0"/>
              <a:t>Sex or pregnancy</a:t>
            </a:r>
          </a:p>
          <a:p>
            <a:r>
              <a:rPr lang="en-US" sz="1800" dirty="0"/>
              <a:t>Sexual orientation or gender identity</a:t>
            </a:r>
          </a:p>
          <a:p>
            <a:r>
              <a:rPr lang="en-US" sz="1800" dirty="0"/>
              <a:t>Veteran or military status</a:t>
            </a:r>
          </a:p>
          <a:p>
            <a:r>
              <a:rPr lang="en-US" sz="1800" dirty="0"/>
              <a:t>Presence of any actual or perceived sensory, mental, or physical disability</a:t>
            </a:r>
          </a:p>
          <a:p>
            <a:r>
              <a:rPr lang="en-US" sz="1800" dirty="0"/>
              <a:t>Use of a service animal</a:t>
            </a:r>
          </a:p>
          <a:p>
            <a:r>
              <a:rPr lang="en-US" sz="1800" dirty="0"/>
              <a:t>HIV or Hepatitis C</a:t>
            </a:r>
          </a:p>
          <a:p>
            <a:r>
              <a:rPr lang="en-US" sz="1800" dirty="0"/>
              <a:t>Marital status</a:t>
            </a:r>
          </a:p>
          <a:p>
            <a:r>
              <a:rPr lang="en-US" sz="1800" dirty="0"/>
              <a:t>Breastfeeding</a:t>
            </a:r>
          </a:p>
          <a:p>
            <a:r>
              <a:rPr lang="en-US" sz="1800" dirty="0"/>
              <a:t>Family with children status</a:t>
            </a:r>
          </a:p>
          <a:p>
            <a:r>
              <a:rPr lang="en-US" sz="1800" dirty="0"/>
              <a:t>Age</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5743783"/>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Washington State – Sexual Harassment</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2096589"/>
            <a:ext cx="8435667" cy="4761411"/>
          </a:xfrm>
        </p:spPr>
        <p:txBody>
          <a:bodyPr>
            <a:noAutofit/>
          </a:bodyPr>
          <a:lstStyle/>
          <a:p>
            <a:r>
              <a:rPr lang="en-US" sz="2000" dirty="0"/>
              <a:t>Treatment with respect at work: Employers must protect employees from unwelcome sexual advances, requests for sexual favors, and other verbal or physical conduct that is based on sex.</a:t>
            </a:r>
          </a:p>
          <a:p>
            <a:r>
              <a:rPr lang="en-US" sz="2000" dirty="0"/>
              <a:t>No retaliation: Employers cannot take adverse actions against employees who exercise a protected right, file or intend to file a complaint, or who have discussed potential violations of their rights.</a:t>
            </a:r>
          </a:p>
          <a:p>
            <a:pPr marL="0" indent="0">
              <a:buNone/>
            </a:pPr>
            <a:endParaRPr lang="en-US" sz="18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492590"/>
      </p:ext>
    </p:extLst>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1800" dirty="0"/>
              <a:t>In addition to your employer’s internal complaint process, you can contact:</a:t>
            </a:r>
          </a:p>
          <a:p>
            <a:pPr marL="0" indent="0">
              <a:buNone/>
            </a:pPr>
            <a:endParaRPr lang="en-US" sz="1800" dirty="0"/>
          </a:p>
          <a:p>
            <a:pPr marL="0" indent="0">
              <a:buNone/>
            </a:pPr>
            <a:r>
              <a:rPr lang="en-US" sz="1800" dirty="0"/>
              <a:t>Washington State Human Rights Commission</a:t>
            </a:r>
          </a:p>
          <a:p>
            <a:pPr marL="0" indent="0">
              <a:buNone/>
            </a:pPr>
            <a:r>
              <a:rPr lang="en-US" sz="1800" dirty="0"/>
              <a:t>(800) 233-3247</a:t>
            </a:r>
          </a:p>
          <a:p>
            <a:pPr marL="0" indent="0">
              <a:buNone/>
            </a:pPr>
            <a:r>
              <a:rPr lang="en-US" sz="1800" dirty="0"/>
              <a:t>711 S. Capitol Way, Suite 402</a:t>
            </a:r>
          </a:p>
          <a:p>
            <a:pPr marL="0" indent="0">
              <a:buNone/>
            </a:pPr>
            <a:r>
              <a:rPr lang="en-US" sz="1800" dirty="0"/>
              <a:t>PO BOX 42490</a:t>
            </a:r>
          </a:p>
          <a:p>
            <a:pPr marL="0" indent="0">
              <a:buNone/>
            </a:pPr>
            <a:r>
              <a:rPr lang="en-US" sz="1800" dirty="0"/>
              <a:t>Olympia, WA 98504-2490 </a:t>
            </a:r>
          </a:p>
          <a:p>
            <a:pPr marL="0" indent="0">
              <a:buNone/>
            </a:pPr>
            <a:r>
              <a:rPr lang="en-US" sz="1800" dirty="0">
                <a:hlinkClick r:id="rId2"/>
              </a:rPr>
              <a:t>https://www.hum.wa.gov/file-complaint</a:t>
            </a:r>
            <a:endParaRPr lang="en-US" sz="1800" dirty="0"/>
          </a:p>
          <a:p>
            <a:pPr marL="0" indent="0">
              <a:buNone/>
            </a:pPr>
            <a:endParaRPr lang="en-US" sz="1800" dirty="0"/>
          </a:p>
          <a:p>
            <a:pPr marL="0" indent="0">
              <a:buNone/>
            </a:pPr>
            <a:r>
              <a:rPr lang="en-US" sz="1800" dirty="0"/>
              <a:t>Harassment may also be reported to:</a:t>
            </a:r>
          </a:p>
          <a:p>
            <a:pPr marL="0" indent="0">
              <a:buNone/>
            </a:pPr>
            <a:r>
              <a:rPr lang="en-US" sz="1800" dirty="0"/>
              <a:t>Washington State Office of the Attorney General</a:t>
            </a:r>
          </a:p>
          <a:p>
            <a:pPr marL="0" indent="0">
              <a:buNone/>
            </a:pPr>
            <a:r>
              <a:rPr lang="en-US" sz="1800" dirty="0"/>
              <a:t>(360) 753-6200</a:t>
            </a:r>
          </a:p>
          <a:p>
            <a:pPr marL="0" indent="0">
              <a:buNone/>
            </a:pPr>
            <a:r>
              <a:rPr lang="en-US" sz="1800" dirty="0">
                <a:hlinkClick r:id="rId3"/>
              </a:rPr>
              <a:t>https://www.atg.wa.gov/have-civil-rights-complaint</a:t>
            </a:r>
            <a:endParaRPr lang="en-US" sz="1800" dirty="0"/>
          </a:p>
          <a:p>
            <a:pPr marL="0" indent="0">
              <a:buNone/>
            </a:pPr>
            <a:endParaRPr lang="en-US" sz="1800" dirty="0"/>
          </a:p>
          <a:p>
            <a:pPr marL="0" indent="0">
              <a:buNone/>
            </a:pPr>
            <a:endParaRPr lang="en-US" sz="18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432388"/>
      </p:ext>
    </p:extLst>
  </p:cSld>
  <p:clrMapOvr>
    <a:masterClrMapping/>
  </p:clrMapOvr>
  <p:transition spd="med">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In addition to RPM’s internal complaint process: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endParaRPr lang="en-US" sz="1800" dirty="0"/>
          </a:p>
          <a:p>
            <a:pPr marL="0" indent="0">
              <a:buNone/>
            </a:pPr>
            <a:r>
              <a:rPr lang="en-US" sz="2400" dirty="0"/>
              <a:t>Anywhere in the United States: you can file a complaint with the federal Equal Employment Opportunity Commission (EEOC). For more information, go to </a:t>
            </a:r>
            <a:r>
              <a:rPr lang="en-US" sz="2400" dirty="0">
                <a:hlinkClick r:id="rId2"/>
              </a:rPr>
              <a:t>https://www.eeoc.gov</a:t>
            </a:r>
            <a:r>
              <a:rPr lang="en-US" sz="2400" dirty="0"/>
              <a:t> or call 1-800-669-4000.</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841152"/>
      </p:ext>
    </p:extLst>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QUIZ</a:t>
            </a:r>
            <a:br>
              <a:rPr lang="en-US" sz="1500" dirty="0"/>
            </a:br>
            <a:endParaRPr lang="en-US" dirty="0"/>
          </a:p>
        </p:txBody>
      </p:sp>
      <p:sp>
        <p:nvSpPr>
          <p:cNvPr id="10" name="Date Placeholder 9">
            <a:extLst>
              <a:ext uri="{FF2B5EF4-FFF2-40B4-BE49-F238E27FC236}">
                <a16:creationId xmlns:a16="http://schemas.microsoft.com/office/drawing/2014/main" id="{75AAB6F5-5329-B445-8D17-37495B756E39}"/>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VENT NAME]  [DATE]</a:t>
            </a:r>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96512"/>
      </p:ext>
    </p:extLst>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92546" y="194313"/>
            <a:ext cx="7358907" cy="787032"/>
          </a:xfrm>
        </p:spPr>
        <p:txBody>
          <a:bodyPr/>
          <a:lstStyle/>
          <a:p>
            <a:r>
              <a:rPr lang="en-US" sz="2800" dirty="0"/>
              <a:t>Question #1: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902276"/>
            <a:ext cx="8435667" cy="4761411"/>
          </a:xfrm>
        </p:spPr>
        <p:txBody>
          <a:bodyPr>
            <a:noAutofit/>
          </a:bodyPr>
          <a:lstStyle/>
          <a:p>
            <a:pPr marL="0" indent="0">
              <a:buNone/>
            </a:pPr>
            <a:r>
              <a:rPr lang="en-US" sz="2400" dirty="0"/>
              <a:t>A female employee constantly teases a male employee in her office because he has red hair. Initially, the teasing was fine with him, but soon becomes a source of aggravation. She only addresses him as "Red" or "Cinnamon Head,” not his real name. Even after the male asks her to stop, she continues. He reports this as sexual harassment.</a:t>
            </a:r>
          </a:p>
          <a:p>
            <a:pPr marL="0" indent="0">
              <a:buNone/>
            </a:pPr>
            <a:endParaRPr lang="en-US" sz="2400" dirty="0"/>
          </a:p>
          <a:p>
            <a:pPr marL="0" indent="0">
              <a:buNone/>
            </a:pPr>
            <a:r>
              <a:rPr lang="en-US" sz="2400" dirty="0"/>
              <a:t>Is this sexual harassment?</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 </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79084"/>
      </p:ext>
    </p:extLst>
  </p:cSld>
  <p:clrMapOvr>
    <a:masterClrMapping/>
  </p:clrMapOvr>
  <p:transition spd="med">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Answer #1: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354166" y="1554480"/>
            <a:ext cx="8435667" cy="4761411"/>
          </a:xfrm>
        </p:spPr>
        <p:txBody>
          <a:bodyPr>
            <a:noAutofit/>
          </a:bodyPr>
          <a:lstStyle/>
          <a:p>
            <a:pPr marL="0" indent="0">
              <a:buNone/>
            </a:pPr>
            <a:r>
              <a:rPr lang="en-US" sz="2800" dirty="0"/>
              <a:t>	This is not sexual harassment. </a:t>
            </a:r>
          </a:p>
          <a:p>
            <a:pPr marL="0" indent="0">
              <a:buNone/>
            </a:pPr>
            <a:endParaRPr lang="en-US" sz="2800" dirty="0"/>
          </a:p>
          <a:p>
            <a:pPr marL="0" indent="0">
              <a:buNone/>
            </a:pPr>
            <a:r>
              <a:rPr lang="en-US" sz="2800" dirty="0"/>
              <a:t>There's no evidence in the facts provided that she's anything but a bully. This may be harassment, but it isn't sexual harassment as it's not based on gender or anything of a sexual nature. She could easily be teasing a woman with red hair based on the conduct.</a:t>
            </a:r>
          </a:p>
          <a:p>
            <a:pPr marL="0" indent="0">
              <a:buNone/>
            </a:pPr>
            <a:endParaRPr lang="en-US" sz="2800" dirty="0"/>
          </a:p>
          <a:p>
            <a:pPr marL="0" indent="0">
              <a:buNone/>
            </a:pPr>
            <a:r>
              <a:rPr lang="en-US" sz="2800" dirty="0"/>
              <a:t>The employer may have an obligation to stop this behavior but not because of sexual harassment law.</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A1046D40-7013-0255-2C73-BCF97FD449FC}"/>
              </a:ext>
            </a:extLst>
          </p:cNvPr>
          <p:cNvPicPr>
            <a:picLocks noChangeAspect="1"/>
          </p:cNvPicPr>
          <p:nvPr/>
        </p:nvPicPr>
        <p:blipFill>
          <a:blip r:embed="rId2"/>
          <a:stretch>
            <a:fillRect/>
          </a:stretch>
        </p:blipFill>
        <p:spPr>
          <a:xfrm>
            <a:off x="348528" y="1312018"/>
            <a:ext cx="883996" cy="880948"/>
          </a:xfrm>
          <a:prstGeom prst="rect">
            <a:avLst/>
          </a:prstGeom>
        </p:spPr>
      </p:pic>
    </p:spTree>
    <p:extLst>
      <p:ext uri="{BB962C8B-B14F-4D97-AF65-F5344CB8AC3E}">
        <p14:creationId xmlns:p14="http://schemas.microsoft.com/office/powerpoint/2010/main" val="1112811498"/>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180975"/>
            <a:ext cx="7358907" cy="787032"/>
          </a:xfrm>
        </p:spPr>
        <p:txBody>
          <a:bodyPr/>
          <a:lstStyle/>
          <a:p>
            <a:r>
              <a:rPr lang="en-US" sz="2800" dirty="0"/>
              <a:t>Question #2: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68050" y="1796942"/>
            <a:ext cx="8435667" cy="4761411"/>
          </a:xfrm>
        </p:spPr>
        <p:txBody>
          <a:bodyPr>
            <a:noAutofit/>
          </a:bodyPr>
          <a:lstStyle/>
          <a:p>
            <a:pPr marL="0" indent="0">
              <a:buNone/>
            </a:pPr>
            <a:r>
              <a:rPr lang="en-US" sz="2400" dirty="0"/>
              <a:t>A male supervisor has been friends with one of his female employees for many years. He often addresses her as “babe” or “doll.” Rather than find this offensive, the employee enjoys it as friendly banter and often calls him “stud” or “hottie” in return. A third coworker is located near them and finds their language offensive. That third coworker reports this as sexual harassment.</a:t>
            </a:r>
          </a:p>
          <a:p>
            <a:pPr marL="0" indent="0">
              <a:buNone/>
            </a:pPr>
            <a:endParaRPr lang="en-US" sz="2400" dirty="0"/>
          </a:p>
          <a:p>
            <a:pPr marL="0" indent="0">
              <a:buNone/>
            </a:pPr>
            <a:r>
              <a:rPr lang="en-US" sz="2400" dirty="0"/>
              <a:t>Is this sexual harassment?</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938400"/>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194313"/>
            <a:ext cx="7358907" cy="787032"/>
          </a:xfrm>
        </p:spPr>
        <p:txBody>
          <a:bodyPr/>
          <a:lstStyle/>
          <a:p>
            <a:r>
              <a:rPr lang="en-US" sz="2800" dirty="0"/>
              <a:t>Answer #2: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2400" dirty="0"/>
              <a:t>	This is sexual harassment. </a:t>
            </a:r>
          </a:p>
          <a:p>
            <a:pPr marL="0" indent="0">
              <a:buNone/>
            </a:pPr>
            <a:endParaRPr lang="en-US" sz="2400" dirty="0"/>
          </a:p>
          <a:p>
            <a:pPr marL="0" indent="0">
              <a:buNone/>
            </a:pPr>
            <a:r>
              <a:rPr lang="en-US" sz="2400" dirty="0"/>
              <a:t>The long-term friendship and the fact that their banter was welcome with each other is irrelevant. The conduct was unwelcome and offensive to the third person. The third person's gender or sexual orientation is also irrelevant. The nicknames they were using were gender-based and arguably sexual in nature. </a:t>
            </a:r>
          </a:p>
          <a:p>
            <a:pPr marL="0" indent="0">
              <a:buNone/>
            </a:pPr>
            <a:endParaRPr lang="en-US" sz="2400" dirty="0"/>
          </a:p>
          <a:p>
            <a:pPr marL="0" indent="0">
              <a:buNone/>
            </a:pPr>
            <a:r>
              <a:rPr lang="en-US" sz="2400" dirty="0"/>
              <a:t>Because one of them was a supervisor, the conduct could also be perceived in terms of favoritism – like the third person may feel that participating in sexual banter is necessary in order to ingratiate oneself to the boss. </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64D5C330-AAB2-8DDA-706A-47204A43255B}"/>
              </a:ext>
            </a:extLst>
          </p:cNvPr>
          <p:cNvPicPr>
            <a:picLocks noChangeAspect="1"/>
          </p:cNvPicPr>
          <p:nvPr/>
        </p:nvPicPr>
        <p:blipFill>
          <a:blip r:embed="rId2"/>
          <a:stretch>
            <a:fillRect/>
          </a:stretch>
        </p:blipFill>
        <p:spPr>
          <a:xfrm>
            <a:off x="288886" y="1130731"/>
            <a:ext cx="1003280" cy="999821"/>
          </a:xfrm>
          <a:prstGeom prst="rect">
            <a:avLst/>
          </a:prstGeom>
        </p:spPr>
      </p:pic>
    </p:spTree>
    <p:extLst>
      <p:ext uri="{BB962C8B-B14F-4D97-AF65-F5344CB8AC3E}">
        <p14:creationId xmlns:p14="http://schemas.microsoft.com/office/powerpoint/2010/main" val="362055972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90B6A-3A22-7B0A-8D86-5409F5EBBCAE}"/>
              </a:ext>
            </a:extLst>
          </p:cNvPr>
          <p:cNvSpPr>
            <a:spLocks noGrp="1"/>
          </p:cNvSpPr>
          <p:nvPr>
            <p:ph type="title"/>
          </p:nvPr>
        </p:nvSpPr>
        <p:spPr/>
        <p:txBody>
          <a:bodyPr/>
          <a:lstStyle/>
          <a:p>
            <a:r>
              <a:rPr lang="en-US" sz="2800" dirty="0"/>
              <a:t>Case Study</a:t>
            </a:r>
          </a:p>
        </p:txBody>
      </p:sp>
      <p:sp>
        <p:nvSpPr>
          <p:cNvPr id="3" name="Content Placeholder 2">
            <a:extLst>
              <a:ext uri="{FF2B5EF4-FFF2-40B4-BE49-F238E27FC236}">
                <a16:creationId xmlns:a16="http://schemas.microsoft.com/office/drawing/2014/main" id="{FD92F808-4571-B3B2-B6EA-48000FFB9DDA}"/>
              </a:ext>
            </a:extLst>
          </p:cNvPr>
          <p:cNvSpPr>
            <a:spLocks noGrp="1"/>
          </p:cNvSpPr>
          <p:nvPr>
            <p:ph idx="1"/>
          </p:nvPr>
        </p:nvSpPr>
        <p:spPr>
          <a:xfrm>
            <a:off x="343031" y="1743075"/>
            <a:ext cx="8515219" cy="2227913"/>
          </a:xfrm>
        </p:spPr>
        <p:txBody>
          <a:bodyPr>
            <a:normAutofit/>
          </a:bodyPr>
          <a:lstStyle/>
          <a:p>
            <a:r>
              <a:rPr lang="en-US" sz="2400" dirty="0"/>
              <a:t>You work for a company that designs and builds roller coasters. </a:t>
            </a:r>
          </a:p>
          <a:p>
            <a:r>
              <a:rPr lang="en-US" sz="2400" dirty="0"/>
              <a:t>You get promoted to a new role with additional responsibilities. </a:t>
            </a:r>
          </a:p>
          <a:p>
            <a:r>
              <a:rPr lang="en-US" sz="2400" dirty="0"/>
              <a:t>Your new role requires that you work with a new team.</a:t>
            </a:r>
          </a:p>
          <a:p>
            <a:pPr marL="0" indent="0">
              <a:buNone/>
            </a:pPr>
            <a:endParaRPr lang="en-US" sz="2400" dirty="0"/>
          </a:p>
        </p:txBody>
      </p:sp>
      <p:sp>
        <p:nvSpPr>
          <p:cNvPr id="5" name="Slide Number Placeholder 4">
            <a:extLst>
              <a:ext uri="{FF2B5EF4-FFF2-40B4-BE49-F238E27FC236}">
                <a16:creationId xmlns:a16="http://schemas.microsoft.com/office/drawing/2014/main" id="{039CCE33-ED11-8183-445B-35BF2BDAB9AF}"/>
              </a:ext>
            </a:extLst>
          </p:cNvPr>
          <p:cNvSpPr>
            <a:spLocks noGrp="1"/>
          </p:cNvSpPr>
          <p:nvPr>
            <p:ph type="sldNum" sz="quarter" idx="4"/>
          </p:nvPr>
        </p:nvSpPr>
        <p:spPr/>
        <p:txBody>
          <a:bodyPr/>
          <a:lstStyle/>
          <a:p>
            <a:fld id="{BB5FC4A1-A2DE-4EB5-9A46-57D39B4235EC}" type="slidenum">
              <a:rPr lang="en-US" smtClean="0"/>
              <a:pPr/>
              <a:t>7</a:t>
            </a:fld>
            <a:endParaRPr lang="en-US"/>
          </a:p>
        </p:txBody>
      </p:sp>
      <p:pic>
        <p:nvPicPr>
          <p:cNvPr id="10" name="Picture 9" descr="Rollercoaster track loops and twists shown against the sky">
            <a:extLst>
              <a:ext uri="{FF2B5EF4-FFF2-40B4-BE49-F238E27FC236}">
                <a16:creationId xmlns:a16="http://schemas.microsoft.com/office/drawing/2014/main" id="{055B02F8-91D3-1366-F466-66DB7ED26F9E}"/>
              </a:ext>
            </a:extLst>
          </p:cNvPr>
          <p:cNvPicPr>
            <a:picLocks noChangeAspect="1"/>
          </p:cNvPicPr>
          <p:nvPr/>
        </p:nvPicPr>
        <p:blipFill>
          <a:blip r:embed="rId2">
            <a:duotone>
              <a:schemeClr val="accent2">
                <a:shade val="45000"/>
                <a:satMod val="135000"/>
              </a:schemeClr>
              <a:prstClr val="white"/>
            </a:duotone>
            <a:extLst>
              <a:ext uri="{BEBA8EAE-BF5A-486C-A8C5-ECC9F3942E4B}">
                <a14:imgProps xmlns:a14="http://schemas.microsoft.com/office/drawing/2010/main">
                  <a14:imgLayer r:embed="rId3">
                    <a14:imgEffect>
                      <a14:colorTemperature colorTemp="5300"/>
                    </a14:imgEffect>
                  </a14:imgLayer>
                </a14:imgProps>
              </a:ext>
            </a:extLst>
          </a:blip>
          <a:stretch>
            <a:fillRect/>
          </a:stretch>
        </p:blipFill>
        <p:spPr>
          <a:xfrm>
            <a:off x="1" y="4036467"/>
            <a:ext cx="9144000" cy="2821532"/>
          </a:xfrm>
          <a:prstGeom prst="rect">
            <a:avLst/>
          </a:prstGeom>
        </p:spPr>
      </p:pic>
    </p:spTree>
    <p:extLst>
      <p:ext uri="{BB962C8B-B14F-4D97-AF65-F5344CB8AC3E}">
        <p14:creationId xmlns:p14="http://schemas.microsoft.com/office/powerpoint/2010/main" val="3616907553"/>
      </p:ext>
    </p:extLst>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194313"/>
            <a:ext cx="7358907" cy="787032"/>
          </a:xfrm>
        </p:spPr>
        <p:txBody>
          <a:bodyPr/>
          <a:lstStyle/>
          <a:p>
            <a:r>
              <a:rPr lang="en-US" sz="2800" dirty="0"/>
              <a:t>Question #3: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2200" dirty="0"/>
              <a:t>Employee X, Employee Y, and other employees are sent out of town by their organization to an industry conference. One night, the team ends up in the hotel bar to socialize.</a:t>
            </a:r>
          </a:p>
          <a:p>
            <a:pPr marL="0" indent="0">
              <a:buNone/>
            </a:pPr>
            <a:endParaRPr lang="en-US" sz="1000" dirty="0"/>
          </a:p>
          <a:p>
            <a:pPr marL="0" indent="0">
              <a:buNone/>
            </a:pPr>
            <a:r>
              <a:rPr lang="en-US" sz="2200" dirty="0"/>
              <a:t>At the bar, Employee X makes crass sexual remarks to Employee Y. When Employee Y tries to walk away from the conversation, Employee X pulls on his/her arm. Other employees step in, but Employee X says even more sexually aggressive and demeaning remarks to Employee Y over the next half an hour. </a:t>
            </a:r>
          </a:p>
          <a:p>
            <a:pPr marL="0" indent="0">
              <a:buNone/>
            </a:pPr>
            <a:endParaRPr lang="en-US" sz="1000" dirty="0"/>
          </a:p>
          <a:p>
            <a:pPr marL="0" indent="0">
              <a:buNone/>
            </a:pPr>
            <a:r>
              <a:rPr lang="en-US" sz="2200" dirty="0"/>
              <a:t>Employee Y grows increasingly disgusted and leaves.</a:t>
            </a:r>
          </a:p>
          <a:p>
            <a:pPr marL="0" indent="0">
              <a:buNone/>
            </a:pPr>
            <a:endParaRPr lang="en-US" sz="1000" dirty="0"/>
          </a:p>
          <a:p>
            <a:pPr marL="0" indent="0">
              <a:buNone/>
            </a:pPr>
            <a:r>
              <a:rPr lang="en-US" sz="2200" dirty="0"/>
              <a:t>Is this sexual harassment?</a:t>
            </a:r>
          </a:p>
          <a:p>
            <a:pPr>
              <a:buFont typeface="Wingdings" panose="05000000000000000000" pitchFamily="2" charset="2"/>
              <a:buChar char="q"/>
            </a:pPr>
            <a:r>
              <a:rPr lang="en-US" sz="2200" dirty="0"/>
              <a:t>Yes </a:t>
            </a:r>
          </a:p>
          <a:p>
            <a:pPr>
              <a:buFont typeface="Wingdings" panose="05000000000000000000" pitchFamily="2" charset="2"/>
              <a:buChar char="q"/>
            </a:pPr>
            <a:r>
              <a:rPr lang="en-US" sz="2200" dirty="0"/>
              <a:t>No</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325199"/>
      </p:ext>
    </p:extLst>
  </p:cSld>
  <p:clrMapOvr>
    <a:masterClrMapping/>
  </p:clrMapOvr>
  <p:transition spd="med">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92546" y="291916"/>
            <a:ext cx="7358907" cy="787032"/>
          </a:xfrm>
        </p:spPr>
        <p:txBody>
          <a:bodyPr/>
          <a:lstStyle/>
          <a:p>
            <a:r>
              <a:rPr lang="en-US" sz="2800" dirty="0"/>
              <a:t>Answer #3: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r>
              <a:rPr lang="en-US" sz="2400" dirty="0"/>
              <a:t>	This is sexual harassment. </a:t>
            </a:r>
          </a:p>
          <a:p>
            <a:pPr marL="0" indent="0">
              <a:buNone/>
            </a:pPr>
            <a:endParaRPr lang="en-US" sz="2400" dirty="0"/>
          </a:p>
          <a:p>
            <a:pPr marL="0" indent="0">
              <a:buNone/>
            </a:pPr>
            <a:r>
              <a:rPr lang="en-US" sz="2400" dirty="0"/>
              <a:t>There is an employment relationship between Employee X and Y. The incident occurred during employer-sponsored travel. Sexual harassment can occur both on regular work premises and at work-related sites, including business trip locations, conventions, and holiday office parties. </a:t>
            </a:r>
          </a:p>
          <a:p>
            <a:pPr marL="0" indent="0">
              <a:buNone/>
            </a:pPr>
            <a:endParaRPr lang="en-US" sz="2400" dirty="0"/>
          </a:p>
          <a:p>
            <a:pPr marL="0" indent="0">
              <a:buNone/>
            </a:pPr>
            <a:r>
              <a:rPr lang="en-US" sz="2400" dirty="0"/>
              <a:t>Our jobs, and interactions with coworkers, may go beyond the workplace. If the harassing activity can be shown to be related to the employment relationship, it could be grounds for a sexual harassment claim. Courts have found liability for sexual harassment that occurred during business travel and outside-work-related events. </a:t>
            </a:r>
          </a:p>
          <a:p>
            <a:pPr marL="0" indent="0">
              <a:buNone/>
            </a:pPr>
            <a:endParaRPr lang="en-US" sz="2400" dirty="0"/>
          </a:p>
          <a:p>
            <a:pPr marL="0" indent="0">
              <a:buNone/>
            </a:pPr>
            <a:endParaRPr lang="en-US" sz="2400" dirty="0"/>
          </a:p>
          <a:p>
            <a:pPr marL="0" indent="0">
              <a:buNone/>
            </a:pPr>
            <a:endParaRPr lang="en-US" sz="2400" dirty="0"/>
          </a:p>
          <a:p>
            <a:pPr marL="0" indent="0">
              <a:buNone/>
            </a:pPr>
            <a:endParaRPr lang="en-US" sz="24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CDFE6EF6-377D-45F7-F864-471A660024FC}"/>
              </a:ext>
            </a:extLst>
          </p:cNvPr>
          <p:cNvPicPr>
            <a:picLocks noChangeAspect="1"/>
          </p:cNvPicPr>
          <p:nvPr/>
        </p:nvPicPr>
        <p:blipFill>
          <a:blip r:embed="rId2"/>
          <a:stretch>
            <a:fillRect/>
          </a:stretch>
        </p:blipFill>
        <p:spPr>
          <a:xfrm>
            <a:off x="266628" y="1078948"/>
            <a:ext cx="1005927" cy="1005927"/>
          </a:xfrm>
          <a:prstGeom prst="rect">
            <a:avLst/>
          </a:prstGeom>
        </p:spPr>
      </p:pic>
    </p:spTree>
    <p:extLst>
      <p:ext uri="{BB962C8B-B14F-4D97-AF65-F5344CB8AC3E}">
        <p14:creationId xmlns:p14="http://schemas.microsoft.com/office/powerpoint/2010/main" val="1580393941"/>
      </p:ext>
    </p:extLst>
  </p:cSld>
  <p:clrMapOvr>
    <a:masterClrMapping/>
  </p:clrMapOvr>
  <p:transition spd="med">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Hostile Work Environment </a:t>
            </a:r>
            <a:br>
              <a:rPr lang="en-US" sz="1500" dirty="0"/>
            </a:br>
            <a:endParaRPr lang="en-US" dirty="0"/>
          </a:p>
        </p:txBody>
      </p:sp>
      <p:sp>
        <p:nvSpPr>
          <p:cNvPr id="10" name="Date Placeholder 9">
            <a:extLst>
              <a:ext uri="{FF2B5EF4-FFF2-40B4-BE49-F238E27FC236}">
                <a16:creationId xmlns:a16="http://schemas.microsoft.com/office/drawing/2014/main" id="{75AAB6F5-5329-B445-8D17-37495B756E39}"/>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VENT NAME]  [DATE]</a:t>
            </a:r>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532090"/>
      </p:ext>
    </p:extLst>
  </p:cSld>
  <p:clrMapOvr>
    <a:masterClrMapping/>
  </p:clrMapOvr>
  <p:transition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09576" y="194313"/>
            <a:ext cx="7358907" cy="787032"/>
          </a:xfrm>
        </p:spPr>
        <p:txBody>
          <a:bodyPr/>
          <a:lstStyle/>
          <a:p>
            <a:r>
              <a:rPr lang="en-US" sz="2800" dirty="0"/>
              <a:t>Hostile Work Environment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endParaRPr lang="en-US" sz="2400" dirty="0"/>
          </a:p>
          <a:p>
            <a:r>
              <a:rPr lang="en-US" sz="2400" dirty="0"/>
              <a:t>Conduct directed toward the complainant or</a:t>
            </a:r>
          </a:p>
          <a:p>
            <a:r>
              <a:rPr lang="en-US" sz="2400" dirty="0"/>
              <a:t>Directed at someone else in the immediate environment</a:t>
            </a:r>
          </a:p>
          <a:p>
            <a:r>
              <a:rPr lang="en-US" sz="2400" dirty="0"/>
              <a:t>Harassment because of sex or gender </a:t>
            </a:r>
          </a:p>
          <a:p>
            <a:r>
              <a:rPr lang="en-US" sz="2400" dirty="0"/>
              <a:t>Unwelcome</a:t>
            </a:r>
          </a:p>
          <a:p>
            <a:r>
              <a:rPr lang="en-US" sz="2400" dirty="0"/>
              <a:t>Produced inferior conditions of the complainant’s work environment and created an intimidating hostile, abusive, or offensive work environment</a:t>
            </a:r>
          </a:p>
          <a:p>
            <a:r>
              <a:rPr lang="en-US" sz="2400" dirty="0"/>
              <a:t>Federal policy and many states use “severe or pervasive” to assess behaviors. Some jurisdictions specifically exclude this standard.</a:t>
            </a:r>
          </a:p>
          <a:p>
            <a:pPr marL="0" indent="0">
              <a:buNone/>
            </a:pPr>
            <a:endParaRPr lang="en-US" sz="2400" dirty="0"/>
          </a:p>
          <a:p>
            <a:pPr marL="0" indent="0">
              <a:buNone/>
            </a:pPr>
            <a:endParaRPr lang="en-US" sz="2400" dirty="0"/>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168480"/>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90526" y="0"/>
            <a:ext cx="7358907" cy="787032"/>
          </a:xfrm>
        </p:spPr>
        <p:txBody>
          <a:bodyPr/>
          <a:lstStyle/>
          <a:p>
            <a:r>
              <a:rPr lang="en-US" sz="2800" dirty="0"/>
              <a:t>Hostile Work Environment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pPr marL="0" indent="0">
              <a:buNone/>
            </a:pPr>
            <a:endParaRPr lang="en-US" sz="2400" dirty="0"/>
          </a:p>
          <a:p>
            <a:r>
              <a:rPr lang="en-US" sz="2400" dirty="0"/>
              <a:t>Federal Government and many states use the severe or pervasive standard:</a:t>
            </a:r>
          </a:p>
          <a:p>
            <a:pPr marL="0" indent="0">
              <a:buNone/>
            </a:pPr>
            <a:endParaRPr lang="en-US" sz="2400" dirty="0"/>
          </a:p>
          <a:p>
            <a:r>
              <a:rPr lang="en-US" sz="2400" dirty="0"/>
              <a:t>The more severe, the less pervasive it has to be</a:t>
            </a:r>
          </a:p>
          <a:p>
            <a:pPr marL="0" indent="0">
              <a:buNone/>
            </a:pPr>
            <a:endParaRPr lang="en-US" sz="2400" dirty="0"/>
          </a:p>
          <a:p>
            <a:r>
              <a:rPr lang="en-US" sz="2400" dirty="0"/>
              <a:t>If the harassment is extremely pervasive, then each individual incident of harassment need not be particularly grave</a:t>
            </a:r>
          </a:p>
          <a:p>
            <a:pPr marL="0" indent="0">
              <a:buNone/>
            </a:pPr>
            <a:endParaRPr lang="en-US" sz="2400" dirty="0"/>
          </a:p>
          <a:p>
            <a:r>
              <a:rPr lang="en-US" sz="2400" dirty="0"/>
              <a:t>Some states and cities exclude this as a requirement to prove a Hostile Work Environment</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2645581"/>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19101" y="194313"/>
            <a:ext cx="7358907" cy="787032"/>
          </a:xfrm>
        </p:spPr>
        <p:txBody>
          <a:bodyPr/>
          <a:lstStyle/>
          <a:p>
            <a:r>
              <a:rPr lang="en-US" sz="2800" dirty="0"/>
              <a:t>Severe Scenario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432561" y="1508760"/>
            <a:ext cx="8435667" cy="4761411"/>
          </a:xfrm>
        </p:spPr>
        <p:txBody>
          <a:bodyPr>
            <a:noAutofit/>
          </a:bodyPr>
          <a:lstStyle/>
          <a:p>
            <a:r>
              <a:rPr lang="en-US" sz="2400" dirty="0"/>
              <a:t>Sexual request from a company president. </a:t>
            </a:r>
          </a:p>
          <a:p>
            <a:r>
              <a:rPr lang="en-US" sz="2400" dirty="0"/>
              <a:t>Because of their position within the company, this meets the severe standard even if it only happened once. </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8" name="Picture 7" descr="A person sitting at a desk with a person holding a cup of coffee&#10;&#10;Description automatically generated">
            <a:extLst>
              <a:ext uri="{FF2B5EF4-FFF2-40B4-BE49-F238E27FC236}">
                <a16:creationId xmlns:a16="http://schemas.microsoft.com/office/drawing/2014/main" id="{60807846-6D7D-1E6B-9848-2BB100F29326}"/>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91037" y="2738147"/>
            <a:ext cx="7544146" cy="4119853"/>
          </a:xfrm>
          <a:prstGeom prst="rect">
            <a:avLst/>
          </a:prstGeom>
        </p:spPr>
      </p:pic>
    </p:spTree>
    <p:extLst>
      <p:ext uri="{BB962C8B-B14F-4D97-AF65-F5344CB8AC3E}">
        <p14:creationId xmlns:p14="http://schemas.microsoft.com/office/powerpoint/2010/main" val="902977006"/>
      </p:ext>
    </p:extLst>
  </p:cSld>
  <p:clrMapOvr>
    <a:masterClrMapping/>
  </p:clrMapOvr>
  <p:transition spd="med">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white figure holding weights">
            <a:extLst>
              <a:ext uri="{FF2B5EF4-FFF2-40B4-BE49-F238E27FC236}">
                <a16:creationId xmlns:a16="http://schemas.microsoft.com/office/drawing/2014/main" id="{18712B91-4BDF-269E-EB5B-8DA2596188CB}"/>
              </a:ext>
            </a:extLst>
          </p:cNvPr>
          <p:cNvPicPr>
            <a:picLocks noChangeAspect="1"/>
          </p:cNvPicPr>
          <p:nvPr/>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harpenSoften amount="-50000"/>
                    </a14:imgEffect>
                    <a14:imgEffect>
                      <a14:colorTemperature colorTemp="4700"/>
                    </a14:imgEffect>
                    <a14:imgEffect>
                      <a14:saturation sat="0"/>
                    </a14:imgEffect>
                    <a14:imgEffect>
                      <a14:brightnessContrast bright="40000" contrast="-40000"/>
                    </a14:imgEffect>
                  </a14:imgLayer>
                </a14:imgProps>
              </a:ext>
              <a:ext uri="{837473B0-CC2E-450A-ABE3-18F120FF3D39}">
                <a1611:picAttrSrcUrl xmlns:a1611="http://schemas.microsoft.com/office/drawing/2016/11/main" r:id="rId4"/>
              </a:ext>
            </a:extLst>
          </a:blip>
          <a:stretch>
            <a:fillRect/>
          </a:stretch>
        </p:blipFill>
        <p:spPr>
          <a:xfrm>
            <a:off x="4979417" y="2006990"/>
            <a:ext cx="3924300" cy="3924300"/>
          </a:xfrm>
          <a:prstGeom prst="rect">
            <a:avLst/>
          </a:prstGeom>
        </p:spPr>
      </p:pic>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761951" y="208965"/>
            <a:ext cx="7358907" cy="787032"/>
          </a:xfrm>
        </p:spPr>
        <p:txBody>
          <a:bodyPr/>
          <a:lstStyle/>
          <a:p>
            <a:r>
              <a:rPr lang="en-US" sz="2800" dirty="0"/>
              <a:t>Pervasive Scenario   </a:t>
            </a:r>
          </a:p>
        </p:txBody>
      </p:sp>
      <p:sp>
        <p:nvSpPr>
          <p:cNvPr id="3" name="Content Placeholder 2">
            <a:extLst>
              <a:ext uri="{FF2B5EF4-FFF2-40B4-BE49-F238E27FC236}">
                <a16:creationId xmlns:a16="http://schemas.microsoft.com/office/drawing/2014/main" id="{9772A89E-A4C9-826A-A66A-49B7F364F79F}"/>
              </a:ext>
            </a:extLst>
          </p:cNvPr>
          <p:cNvSpPr>
            <a:spLocks noGrp="1"/>
          </p:cNvSpPr>
          <p:nvPr>
            <p:ph idx="1"/>
          </p:nvPr>
        </p:nvSpPr>
        <p:spPr>
          <a:xfrm>
            <a:off x="363691" y="1670685"/>
            <a:ext cx="4384971" cy="4761411"/>
          </a:xfrm>
        </p:spPr>
        <p:txBody>
          <a:bodyPr>
            <a:noAutofit/>
          </a:bodyPr>
          <a:lstStyle/>
          <a:p>
            <a:r>
              <a:rPr lang="en-US" sz="2400" dirty="0"/>
              <a:t>Employee teases another for having an athletically fit body</a:t>
            </a:r>
          </a:p>
          <a:p>
            <a:r>
              <a:rPr lang="en-US" sz="2400" dirty="0"/>
              <a:t>Not offensive at first, but never ends</a:t>
            </a:r>
          </a:p>
          <a:p>
            <a:r>
              <a:rPr lang="en-US" sz="2400" dirty="0"/>
              <a:t>After a month of teasing, the employee reports this as sexual harassment </a:t>
            </a:r>
          </a:p>
          <a:p>
            <a:r>
              <a:rPr lang="en-US" sz="2400" dirty="0"/>
              <a:t>Conduct wasn’t severe or offensive at first – became pervasive</a:t>
            </a:r>
          </a:p>
          <a:p>
            <a:r>
              <a:rPr lang="en-US" sz="2400" dirty="0"/>
              <a:t>Unwanted, inferior, and offensive work environment</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119949"/>
      </p:ext>
    </p:extLst>
  </p:cSld>
  <p:clrMapOvr>
    <a:masterClrMapping/>
  </p:clrMapOvr>
  <p:transition spd="med">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C2152-E511-C241-AA71-6C4C801C2FB8}"/>
              </a:ext>
            </a:extLst>
          </p:cNvPr>
          <p:cNvSpPr>
            <a:spLocks noGrp="1"/>
          </p:cNvSpPr>
          <p:nvPr>
            <p:ph type="title"/>
          </p:nvPr>
        </p:nvSpPr>
        <p:spPr>
          <a:xfrm>
            <a:off x="822960" y="182880"/>
            <a:ext cx="7358907" cy="787032"/>
          </a:xfrm>
        </p:spPr>
        <p:txBody>
          <a:bodyPr anchor="ctr">
            <a:normAutofit/>
          </a:bodyPr>
          <a:lstStyle/>
          <a:p>
            <a:r>
              <a:rPr lang="en-US"/>
              <a:t>Hostile Work Environment  </a:t>
            </a:r>
          </a:p>
        </p:txBody>
      </p:sp>
      <p:sp>
        <p:nvSpPr>
          <p:cNvPr id="11" name="Date Placeholder 3">
            <a:extLst>
              <a:ext uri="{FF2B5EF4-FFF2-40B4-BE49-F238E27FC236}">
                <a16:creationId xmlns:a16="http://schemas.microsoft.com/office/drawing/2014/main" id="{701AC263-346A-59D4-1C6C-16050FB9EBF0}"/>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6B5E798E-E98B-594A-481B-A6F6CEBC33CF}"/>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77</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FEB943A7-BBCE-4B86-17D5-9C4FA6377618}"/>
              </a:ext>
            </a:extLst>
          </p:cNvPr>
          <p:cNvGraphicFramePr>
            <a:graphicFrameLocks noGrp="1"/>
          </p:cNvGraphicFramePr>
          <p:nvPr>
            <p:ph idx="1"/>
            <p:extLst>
              <p:ext uri="{D42A27DB-BD31-4B8C-83A1-F6EECF244321}">
                <p14:modId xmlns:p14="http://schemas.microsoft.com/office/powerpoint/2010/main" val="45396455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21824755"/>
      </p:ext>
    </p:extLst>
  </p:cSld>
  <p:clrMapOvr>
    <a:masterClrMapping/>
  </p:clrMapOvr>
  <p:transition spd="med">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p:txBody>
          <a:bodyPr/>
          <a:lstStyle/>
          <a:p>
            <a:r>
              <a:rPr lang="en-US" sz="2400" dirty="0"/>
              <a:t>Hostile Work Environment – Case Study </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464995" y="1634595"/>
            <a:ext cx="8074836" cy="4842074"/>
          </a:xfrm>
        </p:spPr>
        <p:txBody>
          <a:bodyPr>
            <a:normAutofit/>
          </a:bodyPr>
          <a:lstStyle/>
          <a:p>
            <a:r>
              <a:rPr lang="en-US" sz="2400" dirty="0"/>
              <a:t>Our company’s IT director, Mike, is viewed overall as very friendly and helpful. </a:t>
            </a:r>
          </a:p>
          <a:p>
            <a:r>
              <a:rPr lang="en-US" sz="2400" dirty="0"/>
              <a:t>He often touches his coworkers on the arm or shoulder when helping with computer issues or passing them by in the hallway.</a:t>
            </a:r>
          </a:p>
          <a:p>
            <a:r>
              <a:rPr lang="en-US" sz="2400" dirty="0"/>
              <a:t>Cindy, the receptionist, asks Mike for his help with her computer. </a:t>
            </a:r>
          </a:p>
          <a:p>
            <a:r>
              <a:rPr lang="en-US" sz="2400" dirty="0"/>
              <a:t>Mike helps Cindy with her computer by standing behind her as she’s seated behind her monitor. </a:t>
            </a:r>
          </a:p>
          <a:p>
            <a:r>
              <a:rPr lang="en-US" sz="2400" dirty="0"/>
              <a:t>As Mike is helping Cindy, he places his hands on her shoulders. </a:t>
            </a:r>
          </a:p>
          <a:p>
            <a:r>
              <a:rPr lang="en-US" sz="2400" dirty="0"/>
              <a:t>Cindy is visibly uncomfortable and cuts their conversation short.</a:t>
            </a:r>
          </a:p>
          <a:p>
            <a:pPr marL="0" indent="0">
              <a:buNone/>
            </a:pPr>
            <a:endParaRPr lang="en-US" sz="2400" dirty="0"/>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fld id="{BB5FC4A1-A2DE-4EB5-9A46-57D39B4235EC}" type="slidenum">
              <a:rPr lang="en-US" smtClean="0"/>
              <a:pPr/>
              <a:t>78</a:t>
            </a:fld>
            <a:endParaRPr lang="en-US"/>
          </a:p>
        </p:txBody>
      </p:sp>
    </p:spTree>
    <p:extLst>
      <p:ext uri="{BB962C8B-B14F-4D97-AF65-F5344CB8AC3E}">
        <p14:creationId xmlns:p14="http://schemas.microsoft.com/office/powerpoint/2010/main" val="120661949"/>
      </p:ext>
    </p:extLst>
  </p:cSld>
  <p:clrMapOvr>
    <a:masterClrMapping/>
  </p:clrMapOvr>
  <p:transition spd="med">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59" y="182880"/>
            <a:ext cx="7381415" cy="729882"/>
          </a:xfrm>
        </p:spPr>
        <p:txBody>
          <a:bodyPr anchor="ctr">
            <a:normAutofit/>
          </a:bodyPr>
          <a:lstStyle/>
          <a:p>
            <a:r>
              <a:rPr lang="en-US"/>
              <a:t>Hostile Work Environment – Case Study </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sz="half" idx="1"/>
          </p:nvPr>
        </p:nvSpPr>
        <p:spPr>
          <a:xfrm>
            <a:off x="451297" y="1722576"/>
            <a:ext cx="3886200" cy="5135424"/>
          </a:xfrm>
        </p:spPr>
        <p:txBody>
          <a:bodyPr>
            <a:normAutofit/>
          </a:bodyPr>
          <a:lstStyle/>
          <a:p>
            <a:r>
              <a:rPr lang="en-US" sz="2400" dirty="0"/>
              <a:t>Cindy tells you that Mike “groped her shoulder.” </a:t>
            </a:r>
          </a:p>
          <a:p>
            <a:r>
              <a:rPr lang="en-US" sz="2400" dirty="0"/>
              <a:t>You tell Cindy that Mike touches everyone’s shoulders and it’s not a big deal. </a:t>
            </a:r>
          </a:p>
          <a:p>
            <a:r>
              <a:rPr lang="en-US" sz="2400" dirty="0"/>
              <a:t>Cindy tells you that her experience with Mike was different and that she was very uncomfortable. </a:t>
            </a:r>
          </a:p>
          <a:p>
            <a:endParaRPr lang="en-US" sz="2400" dirty="0"/>
          </a:p>
        </p:txBody>
      </p:sp>
      <p:pic>
        <p:nvPicPr>
          <p:cNvPr id="6" name="Content Placeholder 5" descr="A person in a suit standing next to a person&#10;&#10;Description automatically generated">
            <a:extLst>
              <a:ext uri="{FF2B5EF4-FFF2-40B4-BE49-F238E27FC236}">
                <a16:creationId xmlns:a16="http://schemas.microsoft.com/office/drawing/2014/main" id="{A8F922C1-A2E9-6663-111D-51E9FD965692}"/>
              </a:ext>
            </a:extLst>
          </p:cNvPr>
          <p:cNvPicPr>
            <a:picLocks noGrp="1" noChangeAspect="1"/>
          </p:cNvPicPr>
          <p:nvPr>
            <p:ph sz="half" idx="2"/>
          </p:nvPr>
        </p:nvPicPr>
        <p:blipFill>
          <a:blip r:embed="rId2"/>
          <a:stretch>
            <a:fillRect/>
          </a:stretch>
        </p:blipFill>
        <p:spPr>
          <a:xfrm>
            <a:off x="4646414" y="1508125"/>
            <a:ext cx="3851672" cy="5135563"/>
          </a:xfrm>
        </p:spPr>
      </p:pic>
      <p:sp>
        <p:nvSpPr>
          <p:cNvPr id="5" name="Slide Number Placeholder 4" hidden="1">
            <a:extLst>
              <a:ext uri="{FF2B5EF4-FFF2-40B4-BE49-F238E27FC236}">
                <a16:creationId xmlns:a16="http://schemas.microsoft.com/office/drawing/2014/main" id="{DE7A581A-9DA4-16D5-BC74-921893A4CA59}"/>
              </a:ext>
            </a:extLst>
          </p:cNvPr>
          <p:cNvSpPr>
            <a:spLocks noGrp="1"/>
          </p:cNvSpPr>
          <p:nvPr>
            <p:ph type="sldNum" sz="quarter" idx="4294967295"/>
          </p:nvPr>
        </p:nvSpPr>
        <p:spPr>
          <a:xfrm>
            <a:off x="8663437" y="6558353"/>
            <a:ext cx="480561"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0612384"/>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Waterfall scene outline">
            <a:extLst>
              <a:ext uri="{FF2B5EF4-FFF2-40B4-BE49-F238E27FC236}">
                <a16:creationId xmlns:a16="http://schemas.microsoft.com/office/drawing/2014/main" id="{420A6B06-E696-93BB-8330-C73FCCC47F4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54526" y="2262579"/>
            <a:ext cx="4295774" cy="4295774"/>
          </a:xfrm>
          <a:prstGeom prst="rect">
            <a:avLst/>
          </a:prstGeom>
        </p:spPr>
      </p:pic>
      <p:sp>
        <p:nvSpPr>
          <p:cNvPr id="2" name="Title 1">
            <a:extLst>
              <a:ext uri="{FF2B5EF4-FFF2-40B4-BE49-F238E27FC236}">
                <a16:creationId xmlns:a16="http://schemas.microsoft.com/office/drawing/2014/main" id="{83990B6A-3A22-7B0A-8D86-5409F5EBBCAE}"/>
              </a:ext>
            </a:extLst>
          </p:cNvPr>
          <p:cNvSpPr>
            <a:spLocks noGrp="1"/>
          </p:cNvSpPr>
          <p:nvPr>
            <p:ph type="title"/>
          </p:nvPr>
        </p:nvSpPr>
        <p:spPr/>
        <p:txBody>
          <a:bodyPr/>
          <a:lstStyle/>
          <a:p>
            <a:r>
              <a:rPr lang="en-US" sz="2800" dirty="0"/>
              <a:t>Case Study</a:t>
            </a:r>
          </a:p>
        </p:txBody>
      </p:sp>
      <p:sp>
        <p:nvSpPr>
          <p:cNvPr id="3" name="Content Placeholder 2">
            <a:extLst>
              <a:ext uri="{FF2B5EF4-FFF2-40B4-BE49-F238E27FC236}">
                <a16:creationId xmlns:a16="http://schemas.microsoft.com/office/drawing/2014/main" id="{FD92F808-4571-B3B2-B6EA-48000FFB9DDA}"/>
              </a:ext>
            </a:extLst>
          </p:cNvPr>
          <p:cNvSpPr>
            <a:spLocks noGrp="1"/>
          </p:cNvSpPr>
          <p:nvPr>
            <p:ph idx="1"/>
          </p:nvPr>
        </p:nvSpPr>
        <p:spPr>
          <a:xfrm>
            <a:off x="432562" y="1819276"/>
            <a:ext cx="8711436" cy="5324474"/>
          </a:xfrm>
        </p:spPr>
        <p:txBody>
          <a:bodyPr>
            <a:normAutofit/>
          </a:bodyPr>
          <a:lstStyle/>
          <a:p>
            <a:r>
              <a:rPr lang="en-US" sz="2400" dirty="0"/>
              <a:t>In your first meeting with your new team, you present your design for a roller coater with a waterfall feature. </a:t>
            </a:r>
          </a:p>
          <a:p>
            <a:r>
              <a:rPr lang="en-US" sz="2400" dirty="0"/>
              <a:t>Bob, an engineer, responds that your waterfall idea would be a good one because it could be used for a “wet t-shirt contest.” </a:t>
            </a:r>
          </a:p>
          <a:p>
            <a:r>
              <a:rPr lang="en-US" sz="2400" dirty="0"/>
              <a:t>Nancy, another engineer, says “only if I can participate.” </a:t>
            </a:r>
          </a:p>
          <a:p>
            <a:r>
              <a:rPr lang="en-US" sz="2400" dirty="0"/>
              <a:t>Another engineer, Nate, says, “I’ve been working out just for this!”</a:t>
            </a:r>
          </a:p>
          <a:p>
            <a:r>
              <a:rPr lang="en-US" sz="2400" dirty="0"/>
              <a:t>Bob turns to you and says, “I bet you’d like to see Nate participate.” </a:t>
            </a:r>
          </a:p>
        </p:txBody>
      </p:sp>
      <p:sp>
        <p:nvSpPr>
          <p:cNvPr id="5" name="Slide Number Placeholder 4">
            <a:extLst>
              <a:ext uri="{FF2B5EF4-FFF2-40B4-BE49-F238E27FC236}">
                <a16:creationId xmlns:a16="http://schemas.microsoft.com/office/drawing/2014/main" id="{039CCE33-ED11-8183-445B-35BF2BDAB9A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2483678"/>
      </p:ext>
    </p:extLst>
  </p:cSld>
  <p:clrMapOvr>
    <a:masterClrMapping/>
  </p:clrMapOvr>
  <p:transition spd="med">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Question mark on green pastel background">
            <a:extLst>
              <a:ext uri="{FF2B5EF4-FFF2-40B4-BE49-F238E27FC236}">
                <a16:creationId xmlns:a16="http://schemas.microsoft.com/office/drawing/2014/main" id="{35976568-1B56-7079-C839-12B1323DD48D}"/>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0" y="0"/>
            <a:ext cx="9144000" cy="6858000"/>
          </a:xfrm>
          <a:prstGeom prst="rect">
            <a:avLst/>
          </a:prstGeom>
        </p:spPr>
      </p:pic>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p:txBody>
          <a:bodyPr/>
          <a:lstStyle/>
          <a:p>
            <a:r>
              <a:rPr lang="en-US" sz="2800" b="1" dirty="0">
                <a:solidFill>
                  <a:schemeClr val="tx1"/>
                </a:solidFill>
                <a:latin typeface="+mn-lt"/>
              </a:rPr>
              <a:t>Case Study  - What do you do next? </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432561" y="1508759"/>
            <a:ext cx="4891913" cy="4901565"/>
          </a:xfrm>
        </p:spPr>
        <p:txBody>
          <a:bodyPr>
            <a:normAutofit/>
          </a:bodyPr>
          <a:lstStyle/>
          <a:p>
            <a:pPr marL="457200" indent="-457200">
              <a:buFont typeface="+mj-lt"/>
              <a:buAutoNum type="arabicPeriod"/>
            </a:pPr>
            <a:r>
              <a:rPr lang="en-US" sz="3200" dirty="0"/>
              <a:t>Tell Cindy, he touches everyone the same. Drop it. </a:t>
            </a:r>
          </a:p>
          <a:p>
            <a:pPr marL="457200" indent="-457200">
              <a:buFont typeface="+mj-lt"/>
              <a:buAutoNum type="arabicPeriod"/>
            </a:pPr>
            <a:r>
              <a:rPr lang="en-US" sz="3200" dirty="0"/>
              <a:t>Tell Cindy to go to see Human Resources or a supervisor. </a:t>
            </a:r>
          </a:p>
          <a:p>
            <a:pPr marL="457200" indent="-457200">
              <a:buFont typeface="+mj-lt"/>
              <a:buAutoNum type="arabicPeriod"/>
            </a:pPr>
            <a:r>
              <a:rPr lang="en-US" sz="3200" dirty="0"/>
              <a:t>Suggest she bring it up to Mike. </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048133"/>
      </p:ext>
    </p:extLst>
  </p:cSld>
  <p:clrMapOvr>
    <a:masterClrMapping/>
  </p:clrMapOvr>
  <p:transition spd="med">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714756" y="116135"/>
            <a:ext cx="7358907" cy="787032"/>
          </a:xfrm>
        </p:spPr>
        <p:txBody>
          <a:bodyPr/>
          <a:lstStyle/>
          <a:p>
            <a:r>
              <a:rPr lang="en-US" sz="2400" dirty="0"/>
              <a:t>1. He touches everyone the same. Drop It.</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451612" y="1716279"/>
            <a:ext cx="8074836" cy="4842074"/>
          </a:xfrm>
        </p:spPr>
        <p:txBody>
          <a:bodyPr>
            <a:normAutofit/>
          </a:bodyPr>
          <a:lstStyle/>
          <a:p>
            <a:pPr marL="0" indent="0">
              <a:buNone/>
            </a:pPr>
            <a:r>
              <a:rPr lang="en-US" sz="2400" dirty="0"/>
              <a:t>The next day in the lunchroom, Mike touches Cindy’s shoulder again and she blows up. She storms out of the office and resigns. She is now threatening to sue the company. Mike now feels like he cannot be as friendly. </a:t>
            </a:r>
          </a:p>
          <a:p>
            <a:pPr marL="0" indent="0">
              <a:buNone/>
            </a:pPr>
            <a:endParaRPr lang="en-US" sz="2400" dirty="0"/>
          </a:p>
          <a:p>
            <a:pPr marL="0" indent="0">
              <a:buNone/>
            </a:pPr>
            <a:r>
              <a:rPr lang="en-US" sz="2400" dirty="0"/>
              <a:t>This is not the best choice. You could have shown more leadership for Cindy to help resolve the situation before it got out of hand. </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333129"/>
      </p:ext>
    </p:extLst>
  </p:cSld>
  <p:clrMapOvr>
    <a:masterClrMapping/>
  </p:clrMapOvr>
  <p:transition spd="med">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411480"/>
            <a:ext cx="7358907" cy="787032"/>
          </a:xfrm>
        </p:spPr>
        <p:txBody>
          <a:bodyPr/>
          <a:lstStyle/>
          <a:p>
            <a:r>
              <a:rPr lang="en-US" sz="2400" dirty="0"/>
              <a:t>2. Tell Cindy to go to see Human Resources </a:t>
            </a:r>
            <a:br>
              <a:rPr lang="en-US" sz="2400" dirty="0"/>
            </a:br>
            <a:r>
              <a:rPr lang="en-US" sz="2400" dirty="0"/>
              <a:t>or a supervisor. </a:t>
            </a:r>
            <a:br>
              <a:rPr lang="en-US" sz="2400" dirty="0"/>
            </a:br>
            <a:r>
              <a:rPr lang="en-US" sz="2400" dirty="0"/>
              <a:t> </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534581" y="1898841"/>
            <a:ext cx="8074836" cy="4842074"/>
          </a:xfrm>
        </p:spPr>
        <p:txBody>
          <a:bodyPr>
            <a:normAutofit/>
          </a:bodyPr>
          <a:lstStyle/>
          <a:p>
            <a:r>
              <a:rPr lang="en-US" sz="2400" dirty="0"/>
              <a:t>Cindy decides to go to HR. </a:t>
            </a:r>
          </a:p>
          <a:p>
            <a:r>
              <a:rPr lang="en-US" sz="2400" dirty="0"/>
              <a:t>HR does a full investigation. </a:t>
            </a:r>
          </a:p>
          <a:p>
            <a:r>
              <a:rPr lang="en-US" sz="2400" dirty="0"/>
              <a:t>Cindy’s allegations are unsubstantiated. </a:t>
            </a:r>
          </a:p>
          <a:p>
            <a:endParaRPr lang="en-US" sz="2400" dirty="0"/>
          </a:p>
          <a:p>
            <a:pPr marL="0" indent="0">
              <a:buNone/>
            </a:pPr>
            <a:r>
              <a:rPr lang="en-US" sz="2400" dirty="0"/>
              <a:t>	</a:t>
            </a:r>
          </a:p>
          <a:p>
            <a:pPr marL="0" indent="0">
              <a:buNone/>
            </a:pPr>
            <a:r>
              <a:rPr lang="en-US" sz="2400" dirty="0"/>
              <a:t>	This is a good choice. The safest route is always to take your concerns up the chain of command. </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6CF978BD-A679-D0CE-4AC3-20B5CE700ECF}"/>
              </a:ext>
            </a:extLst>
          </p:cNvPr>
          <p:cNvPicPr>
            <a:picLocks noChangeAspect="1"/>
          </p:cNvPicPr>
          <p:nvPr/>
        </p:nvPicPr>
        <p:blipFill>
          <a:blip r:embed="rId2"/>
          <a:stretch>
            <a:fillRect/>
          </a:stretch>
        </p:blipFill>
        <p:spPr>
          <a:xfrm>
            <a:off x="480561" y="3429000"/>
            <a:ext cx="1005927" cy="1005927"/>
          </a:xfrm>
          <a:prstGeom prst="rect">
            <a:avLst/>
          </a:prstGeom>
        </p:spPr>
      </p:pic>
    </p:spTree>
    <p:extLst>
      <p:ext uri="{BB962C8B-B14F-4D97-AF65-F5344CB8AC3E}">
        <p14:creationId xmlns:p14="http://schemas.microsoft.com/office/powerpoint/2010/main" val="1394886945"/>
      </p:ext>
    </p:extLst>
  </p:cSld>
  <p:clrMapOvr>
    <a:masterClrMapping/>
  </p:clrMapOvr>
  <p:transition spd="med">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59" y="392579"/>
            <a:ext cx="7358907" cy="787032"/>
          </a:xfrm>
        </p:spPr>
        <p:txBody>
          <a:bodyPr/>
          <a:lstStyle/>
          <a:p>
            <a:r>
              <a:rPr lang="en-US" sz="2400" dirty="0"/>
              <a:t>3. Suggest she bring it up to Mike. </a:t>
            </a:r>
            <a:br>
              <a:rPr lang="en-US" sz="2400" dirty="0"/>
            </a:br>
            <a:endParaRPr lang="en-US" sz="24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534582" y="2081404"/>
            <a:ext cx="8074836" cy="4842074"/>
          </a:xfrm>
        </p:spPr>
        <p:txBody>
          <a:bodyPr>
            <a:normAutofit/>
          </a:bodyPr>
          <a:lstStyle/>
          <a:p>
            <a:r>
              <a:rPr lang="en-US" dirty="0"/>
              <a:t>Cindy brings it up to Mike and he agrees to stop touching her shoulder.</a:t>
            </a:r>
          </a:p>
          <a:p>
            <a:pPr marL="0" indent="0">
              <a:buNone/>
            </a:pPr>
            <a:endParaRPr lang="en-US" dirty="0"/>
          </a:p>
          <a:p>
            <a:pPr marL="0" indent="0">
              <a:buNone/>
            </a:pPr>
            <a:r>
              <a:rPr lang="en-US" dirty="0"/>
              <a:t>	This is a good choice, too. </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4F88288-FC4D-C1B4-DC9A-C472C342CF8B}"/>
              </a:ext>
            </a:extLst>
          </p:cNvPr>
          <p:cNvPicPr>
            <a:picLocks noChangeAspect="1"/>
          </p:cNvPicPr>
          <p:nvPr/>
        </p:nvPicPr>
        <p:blipFill>
          <a:blip r:embed="rId2"/>
          <a:stretch>
            <a:fillRect/>
          </a:stretch>
        </p:blipFill>
        <p:spPr>
          <a:xfrm>
            <a:off x="319995" y="2504269"/>
            <a:ext cx="1005927" cy="1005927"/>
          </a:xfrm>
          <a:prstGeom prst="rect">
            <a:avLst/>
          </a:prstGeom>
        </p:spPr>
      </p:pic>
    </p:spTree>
    <p:extLst>
      <p:ext uri="{BB962C8B-B14F-4D97-AF65-F5344CB8AC3E}">
        <p14:creationId xmlns:p14="http://schemas.microsoft.com/office/powerpoint/2010/main" val="3532811017"/>
      </p:ext>
    </p:extLst>
  </p:cSld>
  <p:clrMapOvr>
    <a:masterClrMapping/>
  </p:clrMapOvr>
  <p:transition spd="med">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60" y="182880"/>
            <a:ext cx="7358907" cy="787032"/>
          </a:xfrm>
        </p:spPr>
        <p:txBody>
          <a:bodyPr anchor="ctr">
            <a:normAutofit/>
          </a:bodyPr>
          <a:lstStyle/>
          <a:p>
            <a:r>
              <a:rPr lang="en-US"/>
              <a:t>Hostile Work Environment </a:t>
            </a:r>
          </a:p>
        </p:txBody>
      </p:sp>
      <p:sp>
        <p:nvSpPr>
          <p:cNvPr id="11" name="Date Placeholder 3">
            <a:extLst>
              <a:ext uri="{FF2B5EF4-FFF2-40B4-BE49-F238E27FC236}">
                <a16:creationId xmlns:a16="http://schemas.microsoft.com/office/drawing/2014/main" id="{273A6255-A6ED-F9CE-F0C4-EEEB2DD1C048}"/>
              </a:ext>
            </a:extLst>
          </p:cNvPr>
          <p:cNvSpPr>
            <a:spLocks noGrp="1"/>
          </p:cNvSpPr>
          <p:nvPr>
            <p:ph type="dt" sz="half" idx="2"/>
          </p:nvPr>
        </p:nvSpPr>
        <p:spPr>
          <a:xfrm>
            <a:off x="5828145" y="6558353"/>
            <a:ext cx="2869679" cy="365125"/>
          </a:xfrm>
        </p:spPr>
        <p:txBody>
          <a:bodyPr anchor="ctr">
            <a:normAutofit/>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84</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326AC3FF-030C-2D45-6956-69658A08DC0A}"/>
              </a:ext>
            </a:extLst>
          </p:cNvPr>
          <p:cNvGraphicFramePr>
            <a:graphicFrameLocks noGrp="1"/>
          </p:cNvGraphicFramePr>
          <p:nvPr>
            <p:ph idx="1"/>
            <p:extLst>
              <p:ext uri="{D42A27DB-BD31-4B8C-83A1-F6EECF244321}">
                <p14:modId xmlns:p14="http://schemas.microsoft.com/office/powerpoint/2010/main" val="2781359053"/>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99240883"/>
      </p:ext>
    </p:extLst>
  </p:cSld>
  <p:clrMapOvr>
    <a:masterClrMapping/>
  </p:clrMapOvr>
  <p:transition spd="med">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60" y="182880"/>
            <a:ext cx="7358907" cy="787032"/>
          </a:xfrm>
        </p:spPr>
        <p:txBody>
          <a:bodyPr anchor="ctr">
            <a:normAutofit/>
          </a:bodyPr>
          <a:lstStyle/>
          <a:p>
            <a:r>
              <a:rPr lang="en-US" dirty="0"/>
              <a:t>Physical Conduct</a:t>
            </a:r>
          </a:p>
        </p:txBody>
      </p:sp>
      <p:sp>
        <p:nvSpPr>
          <p:cNvPr id="11" name="Date Placeholder 3">
            <a:extLst>
              <a:ext uri="{FF2B5EF4-FFF2-40B4-BE49-F238E27FC236}">
                <a16:creationId xmlns:a16="http://schemas.microsoft.com/office/drawing/2014/main" id="{DEF29ED5-D549-8BDD-3AAC-C5C4263ECF57}"/>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85</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9FF50981-39CA-0B36-CED6-7DCE662A7DB7}"/>
              </a:ext>
            </a:extLst>
          </p:cNvPr>
          <p:cNvGraphicFramePr>
            <a:graphicFrameLocks noGrp="1"/>
          </p:cNvGraphicFramePr>
          <p:nvPr>
            <p:ph idx="1"/>
            <p:extLst>
              <p:ext uri="{D42A27DB-BD31-4B8C-83A1-F6EECF244321}">
                <p14:modId xmlns:p14="http://schemas.microsoft.com/office/powerpoint/2010/main" val="3631936251"/>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9382882"/>
      </p:ext>
    </p:extLst>
  </p:cSld>
  <p:clrMapOvr>
    <a:masterClrMapping/>
  </p:clrMapOvr>
  <p:transition spd="med">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60" y="182880"/>
            <a:ext cx="7358907" cy="787032"/>
          </a:xfrm>
        </p:spPr>
        <p:txBody>
          <a:bodyPr anchor="ctr">
            <a:normAutofit/>
          </a:bodyPr>
          <a:lstStyle/>
          <a:p>
            <a:r>
              <a:rPr lang="en-US"/>
              <a:t>Verbal Conduct</a:t>
            </a:r>
          </a:p>
        </p:txBody>
      </p:sp>
      <p:sp>
        <p:nvSpPr>
          <p:cNvPr id="11" name="Date Placeholder 3">
            <a:extLst>
              <a:ext uri="{FF2B5EF4-FFF2-40B4-BE49-F238E27FC236}">
                <a16:creationId xmlns:a16="http://schemas.microsoft.com/office/drawing/2014/main" id="{DEF29ED5-D549-8BDD-3AAC-C5C4263ECF57}"/>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86</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9FF50981-39CA-0B36-CED6-7DCE662A7DB7}"/>
              </a:ext>
            </a:extLst>
          </p:cNvPr>
          <p:cNvGraphicFramePr>
            <a:graphicFrameLocks noGrp="1"/>
          </p:cNvGraphicFramePr>
          <p:nvPr>
            <p:ph idx="1"/>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92238315"/>
      </p:ext>
    </p:extLst>
  </p:cSld>
  <p:clrMapOvr>
    <a:masterClrMapping/>
  </p:clrMapOvr>
  <p:transition spd="med">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60" y="182880"/>
            <a:ext cx="7358907" cy="787032"/>
          </a:xfrm>
        </p:spPr>
        <p:txBody>
          <a:bodyPr anchor="ctr">
            <a:normAutofit/>
          </a:bodyPr>
          <a:lstStyle/>
          <a:p>
            <a:r>
              <a:rPr lang="en-US"/>
              <a:t>Visual Conduct</a:t>
            </a:r>
          </a:p>
        </p:txBody>
      </p:sp>
      <p:sp>
        <p:nvSpPr>
          <p:cNvPr id="11" name="Date Placeholder 3">
            <a:extLst>
              <a:ext uri="{FF2B5EF4-FFF2-40B4-BE49-F238E27FC236}">
                <a16:creationId xmlns:a16="http://schemas.microsoft.com/office/drawing/2014/main" id="{C7CB3765-6AA2-71A2-3022-4EA5062FBC2B}"/>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87</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48642DFA-9A54-89FE-969E-1EBA2C77F7C6}"/>
              </a:ext>
            </a:extLst>
          </p:cNvPr>
          <p:cNvGraphicFramePr>
            <a:graphicFrameLocks noGrp="1"/>
          </p:cNvGraphicFramePr>
          <p:nvPr>
            <p:ph idx="1"/>
            <p:extLst>
              <p:ext uri="{D42A27DB-BD31-4B8C-83A1-F6EECF244321}">
                <p14:modId xmlns:p14="http://schemas.microsoft.com/office/powerpoint/2010/main" val="39076602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21667551"/>
      </p:ext>
    </p:extLst>
  </p:cSld>
  <p:clrMapOvr>
    <a:masterClrMapping/>
  </p:clrMapOvr>
  <p:transition spd="med">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22960" y="182880"/>
            <a:ext cx="7358907" cy="787032"/>
          </a:xfrm>
        </p:spPr>
        <p:txBody>
          <a:bodyPr anchor="ctr">
            <a:normAutofit/>
          </a:bodyPr>
          <a:lstStyle/>
          <a:p>
            <a:r>
              <a:rPr lang="en-US"/>
              <a:t>Examples of Other Conduct</a:t>
            </a:r>
          </a:p>
        </p:txBody>
      </p:sp>
      <p:sp>
        <p:nvSpPr>
          <p:cNvPr id="11" name="Date Placeholder 3">
            <a:extLst>
              <a:ext uri="{FF2B5EF4-FFF2-40B4-BE49-F238E27FC236}">
                <a16:creationId xmlns:a16="http://schemas.microsoft.com/office/drawing/2014/main" id="{38B409AB-F7DC-627A-C93B-B05B70206370}"/>
              </a:ext>
            </a:extLst>
          </p:cNvPr>
          <p:cNvSpPr>
            <a:spLocks noGrp="1"/>
          </p:cNvSpPr>
          <p:nvPr>
            <p:ph type="dt" sz="half" idx="2"/>
          </p:nvPr>
        </p:nvSpPr>
        <p:spPr>
          <a:xfrm>
            <a:off x="5828145" y="6558353"/>
            <a:ext cx="2869679" cy="365125"/>
          </a:xfrm>
        </p:spPr>
        <p:txBody>
          <a:bodyPr/>
          <a:lstStyle/>
          <a:p>
            <a:pPr>
              <a:spcAft>
                <a:spcPts val="600"/>
              </a:spcAft>
            </a:pPr>
            <a:r>
              <a:rPr lang="en-US"/>
              <a:t>[EVENT NAME]  [DATE]</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a:xfrm>
            <a:off x="8663437" y="6558353"/>
            <a:ext cx="480561"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BB5FC4A1-A2DE-4EB5-9A46-57D39B4235EC}"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88</a:t>
            </a:fld>
            <a:endParaRPr kumimoji="0" lang="en-US" b="0" i="0" u="none" strike="noStrike" kern="1200" cap="none" spc="0" normalizeH="0" baseline="0" noProof="0">
              <a:ln>
                <a:noFill/>
              </a:ln>
              <a:effectLst/>
              <a:uLnTx/>
              <a:uFillTx/>
            </a:endParaRPr>
          </a:p>
        </p:txBody>
      </p:sp>
      <p:graphicFrame>
        <p:nvGraphicFramePr>
          <p:cNvPr id="7" name="Content Placeholder 2">
            <a:extLst>
              <a:ext uri="{FF2B5EF4-FFF2-40B4-BE49-F238E27FC236}">
                <a16:creationId xmlns:a16="http://schemas.microsoft.com/office/drawing/2014/main" id="{92E98F44-3337-B2A9-FF4D-0E4BDDF68B03}"/>
              </a:ext>
            </a:extLst>
          </p:cNvPr>
          <p:cNvGraphicFramePr>
            <a:graphicFrameLocks noGrp="1"/>
          </p:cNvGraphicFramePr>
          <p:nvPr>
            <p:ph idx="1"/>
            <p:extLst>
              <p:ext uri="{D42A27DB-BD31-4B8C-83A1-F6EECF244321}">
                <p14:modId xmlns:p14="http://schemas.microsoft.com/office/powerpoint/2010/main" val="4164710342"/>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56222733"/>
      </p:ext>
    </p:extLst>
  </p:cSld>
  <p:clrMapOvr>
    <a:masterClrMapping/>
  </p:clrMapOvr>
  <p:transition spd="med">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QUIZ</a:t>
            </a:r>
            <a:br>
              <a:rPr lang="en-US" sz="1500" dirty="0"/>
            </a:br>
            <a:endParaRPr lang="en-US" dirty="0"/>
          </a:p>
        </p:txBody>
      </p:sp>
      <p:sp>
        <p:nvSpPr>
          <p:cNvPr id="10" name="Date Placeholder 9">
            <a:extLst>
              <a:ext uri="{FF2B5EF4-FFF2-40B4-BE49-F238E27FC236}">
                <a16:creationId xmlns:a16="http://schemas.microsoft.com/office/drawing/2014/main" id="{75AAB6F5-5329-B445-8D17-37495B756E39}"/>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VENT NAME]  [DATE]</a:t>
            </a:r>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88561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Question mark on green pastel background">
            <a:extLst>
              <a:ext uri="{FF2B5EF4-FFF2-40B4-BE49-F238E27FC236}">
                <a16:creationId xmlns:a16="http://schemas.microsoft.com/office/drawing/2014/main" id="{55D63FA7-36FC-399D-D3E2-6BBF1A6BFB5A}"/>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0" y="0"/>
            <a:ext cx="9144000" cy="6858000"/>
          </a:xfrm>
          <a:prstGeom prst="rect">
            <a:avLst/>
          </a:prstGeom>
        </p:spPr>
      </p:pic>
      <p:sp>
        <p:nvSpPr>
          <p:cNvPr id="2" name="Title 1">
            <a:extLst>
              <a:ext uri="{FF2B5EF4-FFF2-40B4-BE49-F238E27FC236}">
                <a16:creationId xmlns:a16="http://schemas.microsoft.com/office/drawing/2014/main" id="{BA5CEB6B-2EA3-EC2E-608D-27DB9FFED60B}"/>
              </a:ext>
            </a:extLst>
          </p:cNvPr>
          <p:cNvSpPr>
            <a:spLocks noGrp="1"/>
          </p:cNvSpPr>
          <p:nvPr>
            <p:ph type="title"/>
          </p:nvPr>
        </p:nvSpPr>
        <p:spPr>
          <a:xfrm>
            <a:off x="790526" y="360864"/>
            <a:ext cx="7358907" cy="787032"/>
          </a:xfrm>
        </p:spPr>
        <p:txBody>
          <a:bodyPr/>
          <a:lstStyle/>
          <a:p>
            <a:r>
              <a:rPr lang="en-US" sz="3600" b="1" dirty="0">
                <a:solidFill>
                  <a:schemeClr val="tx1"/>
                </a:solidFill>
                <a:latin typeface="+mn-lt"/>
              </a:rPr>
              <a:t>What do you want to do? </a:t>
            </a:r>
          </a:p>
        </p:txBody>
      </p:sp>
      <p:sp>
        <p:nvSpPr>
          <p:cNvPr id="3" name="Content Placeholder 2">
            <a:extLst>
              <a:ext uri="{FF2B5EF4-FFF2-40B4-BE49-F238E27FC236}">
                <a16:creationId xmlns:a16="http://schemas.microsoft.com/office/drawing/2014/main" id="{CA2FF7CF-60E7-D199-0484-6A52CA448A74}"/>
              </a:ext>
            </a:extLst>
          </p:cNvPr>
          <p:cNvSpPr>
            <a:spLocks noGrp="1"/>
          </p:cNvSpPr>
          <p:nvPr>
            <p:ph idx="1"/>
          </p:nvPr>
        </p:nvSpPr>
        <p:spPr>
          <a:xfrm>
            <a:off x="534582" y="1803591"/>
            <a:ext cx="8074836" cy="4842074"/>
          </a:xfrm>
        </p:spPr>
        <p:txBody>
          <a:bodyPr>
            <a:normAutofit/>
          </a:bodyPr>
          <a:lstStyle/>
          <a:p>
            <a:pPr marL="457200" indent="-457200">
              <a:buFont typeface="+mj-lt"/>
              <a:buAutoNum type="arabicPeriod"/>
            </a:pPr>
            <a:r>
              <a:rPr lang="en-US" sz="3600" dirty="0"/>
              <a:t>Join in the fun. Throw a zinger of your own. </a:t>
            </a:r>
          </a:p>
          <a:p>
            <a:pPr marL="457200" indent="-457200">
              <a:buFont typeface="+mj-lt"/>
              <a:buAutoNum type="arabicPeriod"/>
            </a:pPr>
            <a:r>
              <a:rPr lang="en-US" sz="3600" dirty="0"/>
              <a:t>Redirect the conversation back to design ideas. </a:t>
            </a:r>
          </a:p>
          <a:p>
            <a:pPr marL="457200" indent="-457200">
              <a:buFont typeface="+mj-lt"/>
              <a:buAutoNum type="arabicPeriod"/>
            </a:pPr>
            <a:r>
              <a:rPr lang="en-US" sz="3600" dirty="0"/>
              <a:t>Redirect the conversation, but also draw attention to the inappropriateness of what’s being said. </a:t>
            </a:r>
          </a:p>
        </p:txBody>
      </p:sp>
      <p:sp>
        <p:nvSpPr>
          <p:cNvPr id="5" name="Slide Number Placeholder 4">
            <a:extLst>
              <a:ext uri="{FF2B5EF4-FFF2-40B4-BE49-F238E27FC236}">
                <a16:creationId xmlns:a16="http://schemas.microsoft.com/office/drawing/2014/main" id="{7D6DF181-A823-A41E-77EA-913C59F071F8}"/>
              </a:ext>
            </a:extLst>
          </p:cNvPr>
          <p:cNvSpPr>
            <a:spLocks noGrp="1"/>
          </p:cNvSpPr>
          <p:nvPr>
            <p:ph type="sldNum" sz="quarter" idx="4"/>
          </p:nvPr>
        </p:nvSpPr>
        <p:spPr/>
        <p:txBody>
          <a:bodyPr/>
          <a:lstStyle/>
          <a:p>
            <a:fld id="{BB5FC4A1-A2DE-4EB5-9A46-57D39B4235EC}" type="slidenum">
              <a:rPr lang="en-US" smtClean="0"/>
              <a:pPr/>
              <a:t>9</a:t>
            </a:fld>
            <a:endParaRPr lang="en-US"/>
          </a:p>
        </p:txBody>
      </p:sp>
    </p:spTree>
    <p:extLst>
      <p:ext uri="{BB962C8B-B14F-4D97-AF65-F5344CB8AC3E}">
        <p14:creationId xmlns:p14="http://schemas.microsoft.com/office/powerpoint/2010/main" val="2060018589"/>
      </p:ext>
    </p:extLst>
  </p:cSld>
  <p:clrMapOvr>
    <a:masterClrMapping/>
  </p:clrMapOvr>
  <p:transition spd="med">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200025"/>
            <a:ext cx="7358907" cy="787032"/>
          </a:xfrm>
        </p:spPr>
        <p:txBody>
          <a:bodyPr/>
          <a:lstStyle/>
          <a:p>
            <a:r>
              <a:rPr lang="en-US" sz="3200" dirty="0"/>
              <a:t>Question #1</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424173" y="1815901"/>
            <a:ext cx="8074836" cy="4842074"/>
          </a:xfrm>
        </p:spPr>
        <p:txBody>
          <a:bodyPr>
            <a:normAutofit/>
          </a:bodyPr>
          <a:lstStyle/>
          <a:p>
            <a:pPr marL="0" indent="0">
              <a:buNone/>
            </a:pPr>
            <a:r>
              <a:rPr lang="en-US" sz="2400" dirty="0"/>
              <a:t>A female supervisor repeatedly puts her arms around an employee to tickle him, even after he's told her to stop. The supervisor makes remarks laced with sexual innuendo. The employee finds the treatment to be offensive and demeaning. He is fearful of the supervisor's intentions toward him and wonders what impact his rejecting her sexually might have on his job. During the investigation, it was found that the supervisor never received sexual harassment training.</a:t>
            </a:r>
          </a:p>
          <a:p>
            <a:pPr marL="0" indent="0">
              <a:buNone/>
            </a:pPr>
            <a:endParaRPr lang="en-US" sz="2400" dirty="0"/>
          </a:p>
          <a:p>
            <a:pPr marL="0" indent="0">
              <a:buNone/>
            </a:pPr>
            <a:r>
              <a:rPr lang="en-US" sz="2400" dirty="0"/>
              <a:t>Is this sexual harassment?</a:t>
            </a:r>
          </a:p>
          <a:p>
            <a:pPr marL="0" indent="0">
              <a:buNone/>
            </a:pPr>
            <a:r>
              <a:rPr lang="en-US" sz="2400" dirty="0"/>
              <a:t>Yes or No</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468692"/>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223265"/>
            <a:ext cx="7358907" cy="787032"/>
          </a:xfrm>
        </p:spPr>
        <p:txBody>
          <a:bodyPr/>
          <a:lstStyle/>
          <a:p>
            <a:r>
              <a:rPr lang="en-US" sz="3200" dirty="0"/>
              <a:t>Answer #1</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p:txBody>
          <a:bodyPr>
            <a:normAutofit/>
          </a:bodyPr>
          <a:lstStyle/>
          <a:p>
            <a:pPr marL="0" indent="0">
              <a:buNone/>
            </a:pPr>
            <a:r>
              <a:rPr lang="en-US" sz="2400" dirty="0"/>
              <a:t>	The scenario clearly sounds like sexual harassment. </a:t>
            </a:r>
          </a:p>
          <a:p>
            <a:pPr marL="0" indent="0">
              <a:buNone/>
            </a:pPr>
            <a:endParaRPr lang="en-US" sz="2400" dirty="0"/>
          </a:p>
          <a:p>
            <a:pPr marL="0" indent="0">
              <a:buNone/>
            </a:pPr>
            <a:r>
              <a:rPr lang="en-US" sz="2400" dirty="0"/>
              <a:t>The conduct was motivated by the complainant’s sex. It was severe – touching. It was subjectively and objectively offensive. It caused damage. It was also pervasive – it happened repeatedly.</a:t>
            </a:r>
          </a:p>
          <a:p>
            <a:pPr marL="0" indent="0">
              <a:buNone/>
            </a:pPr>
            <a:endParaRPr lang="en-US" sz="2400" dirty="0"/>
          </a:p>
          <a:p>
            <a:pPr marL="0" indent="0">
              <a:buNone/>
            </a:pPr>
            <a:r>
              <a:rPr lang="en-US" sz="2400" dirty="0"/>
              <a:t>Follow up: Who is liable for sexual harassment?</a:t>
            </a:r>
          </a:p>
          <a:p>
            <a:pPr>
              <a:buFont typeface="Wingdings" panose="05000000000000000000" pitchFamily="2" charset="2"/>
              <a:buChar char="q"/>
            </a:pPr>
            <a:r>
              <a:rPr lang="en-US" sz="2400" dirty="0"/>
              <a:t>The Supervisor </a:t>
            </a:r>
          </a:p>
          <a:p>
            <a:pPr>
              <a:buFont typeface="Wingdings" panose="05000000000000000000" pitchFamily="2" charset="2"/>
              <a:buChar char="q"/>
            </a:pPr>
            <a:r>
              <a:rPr lang="en-US" sz="2400" dirty="0"/>
              <a:t>The Employer </a:t>
            </a:r>
          </a:p>
          <a:p>
            <a:pPr>
              <a:buFont typeface="Wingdings" panose="05000000000000000000" pitchFamily="2" charset="2"/>
              <a:buChar char="q"/>
            </a:pPr>
            <a:r>
              <a:rPr lang="en-US" sz="2400" dirty="0"/>
              <a:t>Both </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1858F6AF-FFFF-FD1A-8F13-D29CAAFE1FD0}"/>
              </a:ext>
            </a:extLst>
          </p:cNvPr>
          <p:cNvPicPr>
            <a:picLocks noChangeAspect="1"/>
          </p:cNvPicPr>
          <p:nvPr/>
        </p:nvPicPr>
        <p:blipFill>
          <a:blip r:embed="rId2"/>
          <a:stretch>
            <a:fillRect/>
          </a:stretch>
        </p:blipFill>
        <p:spPr>
          <a:xfrm>
            <a:off x="237205" y="1176451"/>
            <a:ext cx="1039983" cy="1036397"/>
          </a:xfrm>
          <a:prstGeom prst="rect">
            <a:avLst/>
          </a:prstGeom>
        </p:spPr>
      </p:pic>
    </p:spTree>
    <p:extLst>
      <p:ext uri="{BB962C8B-B14F-4D97-AF65-F5344CB8AC3E}">
        <p14:creationId xmlns:p14="http://schemas.microsoft.com/office/powerpoint/2010/main" val="163828424"/>
      </p:ext>
    </p:extLst>
  </p:cSld>
  <p:clrMapOvr>
    <a:masterClrMapping/>
  </p:clrMapOvr>
  <p:transition spd="med">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113650"/>
            <a:ext cx="7358907" cy="787032"/>
          </a:xfrm>
        </p:spPr>
        <p:txBody>
          <a:bodyPr/>
          <a:lstStyle/>
          <a:p>
            <a:r>
              <a:rPr lang="en-US" sz="3200" dirty="0"/>
              <a:t>Answer #1 – Follow-Up</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534581" y="1716279"/>
            <a:ext cx="8074836" cy="4842074"/>
          </a:xfrm>
        </p:spPr>
        <p:txBody>
          <a:bodyPr>
            <a:normAutofit/>
          </a:bodyPr>
          <a:lstStyle/>
          <a:p>
            <a:pPr marL="0" indent="0" algn="just">
              <a:buNone/>
            </a:pPr>
            <a:r>
              <a:rPr lang="en-US" sz="2400" b="1" dirty="0"/>
              <a:t>Both</a:t>
            </a:r>
            <a:r>
              <a:rPr lang="en-US" sz="2400" dirty="0"/>
              <a:t> the employer and supervisor are legally liable. </a:t>
            </a:r>
          </a:p>
          <a:p>
            <a:pPr marL="0" indent="0">
              <a:buNone/>
            </a:pPr>
            <a:endParaRPr lang="en-US" sz="2400" dirty="0"/>
          </a:p>
          <a:p>
            <a:pPr marL="0" indent="0">
              <a:buNone/>
            </a:pPr>
            <a:r>
              <a:rPr lang="en-US" sz="2400" dirty="0"/>
              <a:t>The employer is liable for the conduct of its supervisors. In addition, the organization did not take reasonable steps to prevent the sexual harassment from occurring by not providing training.</a:t>
            </a:r>
          </a:p>
          <a:p>
            <a:pPr marL="0" indent="0">
              <a:buNone/>
            </a:pPr>
            <a:endParaRPr lang="en-US" sz="2400" dirty="0"/>
          </a:p>
          <a:p>
            <a:pPr marL="0" indent="0">
              <a:buNone/>
            </a:pPr>
            <a:r>
              <a:rPr lang="en-US" sz="2400" dirty="0"/>
              <a:t>Also, an individual may be personally liable for harassment, whether supervisor or not. The fact that the supervisor may not have known that her conduct was unlawful sexual harassment is not considered.</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66122"/>
      </p:ext>
    </p:extLst>
  </p:cSld>
  <p:clrMapOvr>
    <a:masterClrMapping/>
  </p:clrMapOvr>
  <p:transition spd="med">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200025"/>
            <a:ext cx="7358907" cy="787032"/>
          </a:xfrm>
        </p:spPr>
        <p:txBody>
          <a:bodyPr/>
          <a:lstStyle/>
          <a:p>
            <a:r>
              <a:rPr lang="en-US" sz="3200" dirty="0"/>
              <a:t>Question #2</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534581" y="1716279"/>
            <a:ext cx="8074836" cy="4842074"/>
          </a:xfrm>
        </p:spPr>
        <p:txBody>
          <a:bodyPr>
            <a:normAutofit/>
          </a:bodyPr>
          <a:lstStyle/>
          <a:p>
            <a:pPr marL="0" indent="0">
              <a:buNone/>
            </a:pPr>
            <a:r>
              <a:rPr lang="en-US" sz="2400" dirty="0"/>
              <a:t>One day, an otherwise very professional supervisor compliments an employee’s looks. The compliment is tasteful but flirtatious. The employee is offended and tells the supervisor immediately. The supervisor apologizes and it doesn’t happen again, but the employee is disturbed by the incident over the following week. The employee reports this as sexual harassment and it is thoroughly investigated.</a:t>
            </a:r>
          </a:p>
          <a:p>
            <a:pPr marL="0" indent="0">
              <a:buNone/>
            </a:pPr>
            <a:endParaRPr lang="en-US" sz="2400" dirty="0"/>
          </a:p>
          <a:p>
            <a:pPr marL="0" indent="0">
              <a:buNone/>
            </a:pPr>
            <a:r>
              <a:rPr lang="en-US" sz="2400" dirty="0"/>
              <a:t>Was this sexual harassment?</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461791"/>
      </p:ext>
    </p:extLst>
  </p:cSld>
  <p:clrMapOvr>
    <a:masterClrMapping/>
  </p:clrMapOvr>
  <p:transition spd="med">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266700"/>
            <a:ext cx="7358907" cy="787032"/>
          </a:xfrm>
        </p:spPr>
        <p:txBody>
          <a:bodyPr/>
          <a:lstStyle/>
          <a:p>
            <a:r>
              <a:rPr lang="en-US" sz="3200" dirty="0"/>
              <a:t>Answer #2</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p:txBody>
          <a:bodyPr>
            <a:normAutofit fontScale="92500" lnSpcReduction="20000"/>
          </a:bodyPr>
          <a:lstStyle/>
          <a:p>
            <a:pPr marL="0" indent="0">
              <a:buNone/>
            </a:pPr>
            <a:r>
              <a:rPr lang="en-US" dirty="0"/>
              <a:t>	This is not sexual harassment.</a:t>
            </a:r>
          </a:p>
          <a:p>
            <a:pPr marL="0" indent="0">
              <a:buNone/>
            </a:pPr>
            <a:endParaRPr lang="en-US" dirty="0"/>
          </a:p>
          <a:p>
            <a:pPr marL="0" indent="0">
              <a:buNone/>
            </a:pPr>
            <a:r>
              <a:rPr lang="en-US" dirty="0"/>
              <a:t>The incident was not severe or pervasive. The employer responded appropriately by thoroughly investigating the complaint. A reasonable person would likely find this incident to be trivial.</a:t>
            </a:r>
          </a:p>
          <a:p>
            <a:pPr marL="0" indent="0">
              <a:buNone/>
            </a:pPr>
            <a:endParaRPr lang="en-US" dirty="0"/>
          </a:p>
          <a:p>
            <a:pPr marL="0" indent="0">
              <a:buNone/>
            </a:pPr>
            <a:r>
              <a:rPr lang="en-US" dirty="0"/>
              <a:t>But what about the flirt? Can an employee or supervisor flirt in the workplace?</a:t>
            </a:r>
          </a:p>
          <a:p>
            <a:pPr marL="0" indent="0">
              <a:buNone/>
            </a:pPr>
            <a:endParaRPr lang="en-US" dirty="0"/>
          </a:p>
          <a:p>
            <a:pPr marL="0" indent="0">
              <a:buNone/>
            </a:pPr>
            <a:r>
              <a:rPr lang="en-US" dirty="0"/>
              <a:t>Flirtation is legally considered part of ordinary socializing in the workplace. So, a supervisor can compliment a subordinate's looks (as long as the compliment isn't sexually degrading) without being subject to liability for sexual harassment. “Mere solicitude... is not sexually harassing behavior.” </a:t>
            </a:r>
            <a:r>
              <a:rPr lang="en-US" i="1" dirty="0"/>
              <a:t>Corbitt v. Home Depot U.S.A.</a:t>
            </a:r>
            <a:r>
              <a:rPr lang="en-US" dirty="0"/>
              <a:t>, Inc. (11th Cir. 2009) 573 F3d 1223, 1240.</a:t>
            </a:r>
          </a:p>
          <a:p>
            <a:pPr marL="0" indent="0">
              <a:buNone/>
            </a:pPr>
            <a:endParaRPr lang="en-US" dirty="0"/>
          </a:p>
          <a:p>
            <a:pPr marL="0" indent="0">
              <a:buNone/>
            </a:pPr>
            <a:r>
              <a:rPr lang="en-US" dirty="0"/>
              <a:t>That said, flirtation could reach the threshold of unlawful harassment if the actions are not as professional as described in the scenario. For example, repeated unwanted flirtation or flirtation that is of a crass or offensive nature according to the reasonable person standard could be considered unlawful sexual harassment.</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B6EEC8D8-C78F-F3F1-AE42-28F367E029AD}"/>
              </a:ext>
            </a:extLst>
          </p:cNvPr>
          <p:cNvPicPr>
            <a:picLocks noChangeAspect="1"/>
          </p:cNvPicPr>
          <p:nvPr/>
        </p:nvPicPr>
        <p:blipFill>
          <a:blip r:embed="rId2"/>
          <a:stretch>
            <a:fillRect/>
          </a:stretch>
        </p:blipFill>
        <p:spPr>
          <a:xfrm>
            <a:off x="249860" y="1133856"/>
            <a:ext cx="1076684" cy="1072972"/>
          </a:xfrm>
          <a:prstGeom prst="rect">
            <a:avLst/>
          </a:prstGeom>
        </p:spPr>
      </p:pic>
    </p:spTree>
    <p:extLst>
      <p:ext uri="{BB962C8B-B14F-4D97-AF65-F5344CB8AC3E}">
        <p14:creationId xmlns:p14="http://schemas.microsoft.com/office/powerpoint/2010/main" val="847624996"/>
      </p:ext>
    </p:extLst>
  </p:cSld>
  <p:clrMapOvr>
    <a:masterClrMapping/>
  </p:clrMapOvr>
  <p:transition spd="med">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276225"/>
            <a:ext cx="7358907" cy="787032"/>
          </a:xfrm>
        </p:spPr>
        <p:txBody>
          <a:bodyPr/>
          <a:lstStyle/>
          <a:p>
            <a:r>
              <a:rPr lang="en-US" sz="3200" dirty="0"/>
              <a:t>Question #3</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a:xfrm>
            <a:off x="534581" y="1601039"/>
            <a:ext cx="8074836" cy="4842074"/>
          </a:xfrm>
        </p:spPr>
        <p:txBody>
          <a:bodyPr>
            <a:normAutofit/>
          </a:bodyPr>
          <a:lstStyle/>
          <a:p>
            <a:pPr marL="0" indent="0">
              <a:buNone/>
            </a:pPr>
            <a:r>
              <a:rPr lang="en-US" sz="2400" dirty="0"/>
              <a:t>A male employee works in an office with six other employees, all females. Their supervisor works in another building, supervises online, and never visits. In the office, the females hang posters of naked men and regularly have sexual conversations about men. They are never disrespectful directly to the male and no offensive conduct is directed at him personally. When he reports this to his supervisor, the supervisor tells him to deal with it since he's the only male in an all female office.</a:t>
            </a:r>
          </a:p>
          <a:p>
            <a:pPr marL="0" indent="0">
              <a:buNone/>
            </a:pPr>
            <a:endParaRPr lang="en-US" sz="2400" dirty="0"/>
          </a:p>
          <a:p>
            <a:pPr marL="0" indent="0">
              <a:buNone/>
            </a:pPr>
            <a:r>
              <a:rPr lang="en-US" sz="2400" dirty="0"/>
              <a:t>Was this sexual harassment?</a:t>
            </a:r>
          </a:p>
          <a:p>
            <a:pPr>
              <a:buFont typeface="Wingdings" panose="05000000000000000000" pitchFamily="2" charset="2"/>
              <a:buChar char="q"/>
            </a:pPr>
            <a:r>
              <a:rPr lang="en-US" sz="2400" dirty="0"/>
              <a:t>Yes </a:t>
            </a:r>
          </a:p>
          <a:p>
            <a:pPr>
              <a:buFont typeface="Wingdings" panose="05000000000000000000" pitchFamily="2" charset="2"/>
              <a:buChar char="q"/>
            </a:pPr>
            <a:r>
              <a:rPr lang="en-US" sz="2400" dirty="0"/>
              <a:t>No</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256499"/>
      </p:ext>
    </p:extLst>
  </p:cSld>
  <p:clrMapOvr>
    <a:masterClrMapping/>
  </p:clrMapOvr>
  <p:transition spd="med">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200520"/>
            <a:ext cx="7358907" cy="787032"/>
          </a:xfrm>
        </p:spPr>
        <p:txBody>
          <a:bodyPr/>
          <a:lstStyle/>
          <a:p>
            <a:r>
              <a:rPr lang="en-US" sz="3200" dirty="0"/>
              <a:t>Answer #3</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p:txBody>
          <a:bodyPr>
            <a:normAutofit/>
          </a:bodyPr>
          <a:lstStyle/>
          <a:p>
            <a:pPr marL="0" indent="0">
              <a:buNone/>
            </a:pPr>
            <a:r>
              <a:rPr lang="en-US" dirty="0"/>
              <a:t>	This is sexual harassment.</a:t>
            </a:r>
          </a:p>
          <a:p>
            <a:pPr marL="0" indent="0">
              <a:buNone/>
            </a:pPr>
            <a:endParaRPr lang="en-US" dirty="0"/>
          </a:p>
          <a:p>
            <a:pPr marL="0" indent="0">
              <a:buNone/>
            </a:pPr>
            <a:r>
              <a:rPr lang="en-US" dirty="0"/>
              <a:t>Sexual harassment does not necessarily involve sexual conduct directed at the complainant. He clearly was forced to work in a hostile work environment. Remember, even if you're just talking or joking around with friends at work, if others can hear or see, you are affecting their work environment.</a:t>
            </a:r>
          </a:p>
          <a:p>
            <a:pPr marL="0" indent="0">
              <a:buNone/>
            </a:pPr>
            <a:endParaRPr lang="en-US" dirty="0"/>
          </a:p>
          <a:p>
            <a:pPr marL="0" indent="0">
              <a:buNone/>
            </a:pPr>
            <a:r>
              <a:rPr lang="en-US" dirty="0"/>
              <a:t>Follow up question: In the scenario, who is liable?</a:t>
            </a:r>
          </a:p>
          <a:p>
            <a:pPr>
              <a:buFont typeface="Wingdings" panose="05000000000000000000" pitchFamily="2" charset="2"/>
              <a:buChar char="q"/>
            </a:pPr>
            <a:r>
              <a:rPr lang="en-US" dirty="0"/>
              <a:t>The supervisor </a:t>
            </a:r>
          </a:p>
          <a:p>
            <a:pPr>
              <a:buFont typeface="Wingdings" panose="05000000000000000000" pitchFamily="2" charset="2"/>
              <a:buChar char="q"/>
            </a:pPr>
            <a:r>
              <a:rPr lang="en-US" dirty="0"/>
              <a:t>The employer </a:t>
            </a:r>
          </a:p>
          <a:p>
            <a:pPr>
              <a:buFont typeface="Wingdings" panose="05000000000000000000" pitchFamily="2" charset="2"/>
              <a:buChar char="q"/>
            </a:pPr>
            <a:r>
              <a:rPr lang="en-US" dirty="0"/>
              <a:t>The employees </a:t>
            </a:r>
          </a:p>
          <a:p>
            <a:pPr>
              <a:buFont typeface="Wingdings" panose="05000000000000000000" pitchFamily="2" charset="2"/>
              <a:buChar char="q"/>
            </a:pPr>
            <a:r>
              <a:rPr lang="en-US" dirty="0"/>
              <a:t>All</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0CE3E830-6553-F872-1037-4E25993BCCE3}"/>
              </a:ext>
            </a:extLst>
          </p:cNvPr>
          <p:cNvPicPr>
            <a:picLocks noChangeAspect="1"/>
          </p:cNvPicPr>
          <p:nvPr/>
        </p:nvPicPr>
        <p:blipFill>
          <a:blip r:embed="rId2"/>
          <a:stretch>
            <a:fillRect/>
          </a:stretch>
        </p:blipFill>
        <p:spPr>
          <a:xfrm>
            <a:off x="230459" y="987552"/>
            <a:ext cx="1192832" cy="1188720"/>
          </a:xfrm>
          <a:prstGeom prst="rect">
            <a:avLst/>
          </a:prstGeom>
        </p:spPr>
      </p:pic>
    </p:spTree>
    <p:extLst>
      <p:ext uri="{BB962C8B-B14F-4D97-AF65-F5344CB8AC3E}">
        <p14:creationId xmlns:p14="http://schemas.microsoft.com/office/powerpoint/2010/main" val="841699883"/>
      </p:ext>
    </p:extLst>
  </p:cSld>
  <p:clrMapOvr>
    <a:masterClrMapping/>
  </p:clrMapOvr>
  <p:transition spd="med">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155754"/>
            <a:ext cx="7358907" cy="787032"/>
          </a:xfrm>
        </p:spPr>
        <p:txBody>
          <a:bodyPr/>
          <a:lstStyle/>
          <a:p>
            <a:r>
              <a:rPr lang="en-US" sz="3200" dirty="0"/>
              <a:t>Follow-Up Answer #3</a:t>
            </a:r>
            <a:endParaRPr lang="en-US" sz="2800" dirty="0"/>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p:txBody>
          <a:bodyPr>
            <a:normAutofit/>
          </a:bodyPr>
          <a:lstStyle/>
          <a:p>
            <a:pPr marL="0" indent="0">
              <a:buNone/>
            </a:pPr>
            <a:r>
              <a:rPr lang="en-US" dirty="0"/>
              <a:t>	All of the above are liable. </a:t>
            </a:r>
          </a:p>
          <a:p>
            <a:pPr marL="0" indent="0">
              <a:buNone/>
            </a:pPr>
            <a:endParaRPr lang="en-US" dirty="0"/>
          </a:p>
          <a:p>
            <a:pPr marL="0" indent="0">
              <a:buNone/>
            </a:pPr>
            <a:r>
              <a:rPr lang="en-US" dirty="0"/>
              <a:t>The employer is liable for the offensive work environment they should have known about if they had simply visited to see the posters displayed and is also liable for the supervisor's failure to respond to the reported behavior.</a:t>
            </a:r>
          </a:p>
          <a:p>
            <a:pPr marL="0" indent="0">
              <a:buNone/>
            </a:pPr>
            <a:endParaRPr lang="en-US" dirty="0"/>
          </a:p>
          <a:p>
            <a:pPr marL="0" indent="0">
              <a:buNone/>
            </a:pPr>
            <a:r>
              <a:rPr lang="en-US" dirty="0"/>
              <a:t>The individuals would be personally liable for their harassment. </a:t>
            </a:r>
          </a:p>
          <a:p>
            <a:pPr marL="0" indent="0">
              <a:buNone/>
            </a:pPr>
            <a:endParaRPr lang="en-US" dirty="0"/>
          </a:p>
          <a:p>
            <a:pPr marL="0" indent="0">
              <a:buNone/>
            </a:pPr>
            <a:r>
              <a:rPr lang="en-US" dirty="0"/>
              <a:t>The supervisor may also be personally liable for failing to take immediate and appropriate corrective action.</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CFF54183-4DF8-B3F6-7EF0-628C84933BE0}"/>
              </a:ext>
            </a:extLst>
          </p:cNvPr>
          <p:cNvPicPr>
            <a:picLocks noChangeAspect="1"/>
          </p:cNvPicPr>
          <p:nvPr/>
        </p:nvPicPr>
        <p:blipFill>
          <a:blip r:embed="rId2"/>
          <a:stretch>
            <a:fillRect/>
          </a:stretch>
        </p:blipFill>
        <p:spPr>
          <a:xfrm>
            <a:off x="311902" y="1049544"/>
            <a:ext cx="1161288" cy="1157284"/>
          </a:xfrm>
          <a:prstGeom prst="rect">
            <a:avLst/>
          </a:prstGeom>
        </p:spPr>
      </p:pic>
    </p:spTree>
    <p:extLst>
      <p:ext uri="{BB962C8B-B14F-4D97-AF65-F5344CB8AC3E}">
        <p14:creationId xmlns:p14="http://schemas.microsoft.com/office/powerpoint/2010/main" val="3411562657"/>
      </p:ext>
    </p:extLst>
  </p:cSld>
  <p:clrMapOvr>
    <a:masterClrMapping/>
  </p:clrMapOvr>
  <p:transition spd="med">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C8832-E6FA-A044-8BE9-91D33BA6EA48}"/>
              </a:ext>
            </a:extLst>
          </p:cNvPr>
          <p:cNvSpPr>
            <a:spLocks noGrp="1"/>
          </p:cNvSpPr>
          <p:nvPr>
            <p:ph type="title"/>
          </p:nvPr>
        </p:nvSpPr>
        <p:spPr/>
        <p:txBody>
          <a:bodyPr/>
          <a:lstStyle/>
          <a:p>
            <a:r>
              <a:rPr lang="en-US" sz="3200" dirty="0"/>
              <a:t>Other Types of Misconduct </a:t>
            </a:r>
            <a:br>
              <a:rPr lang="en-US" sz="1500" dirty="0"/>
            </a:br>
            <a:endParaRPr lang="en-US" dirty="0"/>
          </a:p>
        </p:txBody>
      </p:sp>
      <p:sp>
        <p:nvSpPr>
          <p:cNvPr id="11" name="Slide Number Placeholder 10">
            <a:extLst>
              <a:ext uri="{FF2B5EF4-FFF2-40B4-BE49-F238E27FC236}">
                <a16:creationId xmlns:a16="http://schemas.microsoft.com/office/drawing/2014/main" id="{8FA612DC-36BD-184E-9261-ABB1CD2A97F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385865"/>
      </p:ext>
    </p:extLst>
  </p:cSld>
  <p:clrMapOvr>
    <a:masterClrMapping/>
  </p:clrMapOvr>
  <p:transition spd="med">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C046B-748F-2966-8D33-704DBECE45E3}"/>
              </a:ext>
            </a:extLst>
          </p:cNvPr>
          <p:cNvSpPr>
            <a:spLocks noGrp="1"/>
          </p:cNvSpPr>
          <p:nvPr>
            <p:ph type="title"/>
          </p:nvPr>
        </p:nvSpPr>
        <p:spPr>
          <a:xfrm>
            <a:off x="892546" y="0"/>
            <a:ext cx="7358907" cy="787032"/>
          </a:xfrm>
        </p:spPr>
        <p:txBody>
          <a:bodyPr/>
          <a:lstStyle/>
          <a:p>
            <a:r>
              <a:rPr lang="en-US" sz="2800" dirty="0"/>
              <a:t>Quid Pro Quo</a:t>
            </a:r>
          </a:p>
        </p:txBody>
      </p:sp>
      <p:sp>
        <p:nvSpPr>
          <p:cNvPr id="3" name="Content Placeholder 2">
            <a:extLst>
              <a:ext uri="{FF2B5EF4-FFF2-40B4-BE49-F238E27FC236}">
                <a16:creationId xmlns:a16="http://schemas.microsoft.com/office/drawing/2014/main" id="{1FCB5CA6-DE9D-8ED8-1E63-5A2D9238C6B5}"/>
              </a:ext>
            </a:extLst>
          </p:cNvPr>
          <p:cNvSpPr>
            <a:spLocks noGrp="1"/>
          </p:cNvSpPr>
          <p:nvPr>
            <p:ph idx="1"/>
          </p:nvPr>
        </p:nvSpPr>
        <p:spPr/>
        <p:txBody>
          <a:bodyPr>
            <a:normAutofit/>
          </a:bodyPr>
          <a:lstStyle/>
          <a:p>
            <a:r>
              <a:rPr lang="en-US" dirty="0"/>
              <a:t>“This for that" </a:t>
            </a:r>
          </a:p>
          <a:p>
            <a:r>
              <a:rPr lang="en-US" dirty="0"/>
              <a:t>Any sexual advances connected to a job benefit</a:t>
            </a:r>
          </a:p>
          <a:p>
            <a:r>
              <a:rPr lang="en-US" dirty="0"/>
              <a:t>Submission to sexual conduct is a condition of an employment benefit, specified or implied</a:t>
            </a:r>
          </a:p>
        </p:txBody>
      </p:sp>
      <p:sp>
        <p:nvSpPr>
          <p:cNvPr id="5" name="Slide Number Placeholder 4">
            <a:extLst>
              <a:ext uri="{FF2B5EF4-FFF2-40B4-BE49-F238E27FC236}">
                <a16:creationId xmlns:a16="http://schemas.microsoft.com/office/drawing/2014/main" id="{DE7A581A-9DA4-16D5-BC74-921893A4CA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5FC4A1-A2DE-4EB5-9A46-57D39B4235E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person and person sitting at a table">
            <a:extLst>
              <a:ext uri="{FF2B5EF4-FFF2-40B4-BE49-F238E27FC236}">
                <a16:creationId xmlns:a16="http://schemas.microsoft.com/office/drawing/2014/main" id="{139FC2DD-37BA-ADD8-3824-82930114F1B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600199" y="3101530"/>
            <a:ext cx="5943600" cy="3343275"/>
          </a:xfrm>
          <a:prstGeom prst="rect">
            <a:avLst/>
          </a:prstGeom>
        </p:spPr>
      </p:pic>
    </p:spTree>
    <p:extLst>
      <p:ext uri="{BB962C8B-B14F-4D97-AF65-F5344CB8AC3E}">
        <p14:creationId xmlns:p14="http://schemas.microsoft.com/office/powerpoint/2010/main" val="2319080587"/>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8F96E28B07F0843A24868D5892D9312" ma:contentTypeVersion="13" ma:contentTypeDescription="Create a new document." ma:contentTypeScope="" ma:versionID="fdc5c7b40d13f702e26f0107c8f10381">
  <xsd:schema xmlns:xsd="http://www.w3.org/2001/XMLSchema" xmlns:xs="http://www.w3.org/2001/XMLSchema" xmlns:p="http://schemas.microsoft.com/office/2006/metadata/properties" xmlns:ns3="f8d36d2f-c42f-4f1f-9b2f-abc69cc7a5ad" xmlns:ns4="2f06a283-6e2a-4468-871b-e6c63acdb121" targetNamespace="http://schemas.microsoft.com/office/2006/metadata/properties" ma:root="true" ma:fieldsID="c780319db15f1fda57dcccbb73b17ad5" ns3:_="" ns4:_="">
    <xsd:import namespace="f8d36d2f-c42f-4f1f-9b2f-abc69cc7a5ad"/>
    <xsd:import namespace="2f06a283-6e2a-4468-871b-e6c63acdb12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d36d2f-c42f-4f1f-9b2f-abc69cc7a5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06a283-6e2a-4468-871b-e6c63acdb12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F5C9E87-8E26-4A6C-9B31-CF773D11F3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d36d2f-c42f-4f1f-9b2f-abc69cc7a5ad"/>
    <ds:schemaRef ds:uri="2f06a283-6e2a-4468-871b-e6c63acdb1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480F10-BE65-4D28-A54D-405435C8ED72}">
  <ds:schemaRefs>
    <ds:schemaRef ds:uri="http://schemas.microsoft.com/sharepoint/v3/contenttype/forms"/>
  </ds:schemaRefs>
</ds:datastoreItem>
</file>

<file path=customXml/itemProps3.xml><?xml version="1.0" encoding="utf-8"?>
<ds:datastoreItem xmlns:ds="http://schemas.openxmlformats.org/officeDocument/2006/customXml" ds:itemID="{456CADE9-4D3D-4C64-A002-EFFA1FA05E14}">
  <ds:schemaRefs>
    <ds:schemaRef ds:uri="http://schemas.microsoft.com/office/2006/documentManagement/types"/>
    <ds:schemaRef ds:uri="http://www.w3.org/XML/1998/namespace"/>
    <ds:schemaRef ds:uri="http://schemas.microsoft.com/office/2006/metadata/properties"/>
    <ds:schemaRef ds:uri="http://schemas.microsoft.com/office/infopath/2007/PartnerControls"/>
    <ds:schemaRef ds:uri="http://purl.org/dc/dcmitype/"/>
    <ds:schemaRef ds:uri="http://purl.org/dc/elements/1.1/"/>
    <ds:schemaRef ds:uri="http://purl.org/dc/terms/"/>
    <ds:schemaRef ds:uri="http://schemas.openxmlformats.org/package/2006/metadata/core-properties"/>
    <ds:schemaRef ds:uri="2f06a283-6e2a-4468-871b-e6c63acdb121"/>
    <ds:schemaRef ds:uri="f8d36d2f-c42f-4f1f-9b2f-abc69cc7a5ad"/>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19584</TotalTime>
  <Words>11266</Words>
  <Application>Microsoft Office PowerPoint</Application>
  <PresentationFormat>On-screen Show (4:3)</PresentationFormat>
  <Paragraphs>1083</Paragraphs>
  <Slides>144</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4</vt:i4>
      </vt:variant>
    </vt:vector>
  </HeadingPairs>
  <TitlesOfParts>
    <vt:vector size="154" baseType="lpstr">
      <vt:lpstr>Arial</vt:lpstr>
      <vt:lpstr>BentonSans</vt:lpstr>
      <vt:lpstr>BentonSans Light</vt:lpstr>
      <vt:lpstr>Calibri</vt:lpstr>
      <vt:lpstr>Calibri Light</vt:lpstr>
      <vt:lpstr>Lato</vt:lpstr>
      <vt:lpstr>proxima-nova</vt:lpstr>
      <vt:lpstr>Wingdings</vt:lpstr>
      <vt:lpstr>Office Theme</vt:lpstr>
      <vt:lpstr>think-cell Slide</vt:lpstr>
      <vt:lpstr>PowerPoint Presentation</vt:lpstr>
      <vt:lpstr>Why Harassment, Sexual Harassment, and Abusive Conduct Prevention? </vt:lpstr>
      <vt:lpstr>Objectives </vt:lpstr>
      <vt:lpstr>Why the heavy focus on sexual harassment? </vt:lpstr>
      <vt:lpstr>Who is protected against harassment? </vt:lpstr>
      <vt:lpstr>Why Abusive Conduct? </vt:lpstr>
      <vt:lpstr>Case Study</vt:lpstr>
      <vt:lpstr>Case Study</vt:lpstr>
      <vt:lpstr>What do you want to do? </vt:lpstr>
      <vt:lpstr>1. Join in the fun. Throw a zinger of your own  </vt:lpstr>
      <vt:lpstr>2. Redirect the conversation back to design ideas.  </vt:lpstr>
      <vt:lpstr>3.  Redirect the conversation, but also draw attention to what’s being said. </vt:lpstr>
      <vt:lpstr>Lesson Learned</vt:lpstr>
      <vt:lpstr>What’s Sexual Harassment? </vt:lpstr>
      <vt:lpstr>Hostile Work Environment  </vt:lpstr>
      <vt:lpstr>Four Elements of Hostile Work Environment  </vt:lpstr>
      <vt:lpstr>Quid Pro Quo Harassment   </vt:lpstr>
      <vt:lpstr>State-Specific Requirements   </vt:lpstr>
      <vt:lpstr>California – Protected Classes  </vt:lpstr>
      <vt:lpstr>California – Protected Classes  </vt:lpstr>
      <vt:lpstr>California Law  </vt:lpstr>
      <vt:lpstr>Connecticut – Fair Employment Practices Act  </vt:lpstr>
      <vt:lpstr>Connecticut – Sexual Harassment  </vt:lpstr>
      <vt:lpstr>In addition to RPM’s internal complaint process: </vt:lpstr>
      <vt:lpstr>Delaware – Sexual Harassment </vt:lpstr>
      <vt:lpstr>Delaware – Gender Identity  </vt:lpstr>
      <vt:lpstr>In addition to RPM’s internal  complaint process: </vt:lpstr>
      <vt:lpstr>Washington, DC Laws</vt:lpstr>
      <vt:lpstr>Washington, DC  - Protected Classes </vt:lpstr>
      <vt:lpstr>Washington, DC  - Harassment of Employees and Non-employees</vt:lpstr>
      <vt:lpstr>Washington, DC  - Harassment of Customers  and Patrons</vt:lpstr>
      <vt:lpstr>Washington, DC  - Harassment by Customers  and Patrons</vt:lpstr>
      <vt:lpstr>Washington D.C. – Scenario A </vt:lpstr>
      <vt:lpstr>What can the Manager do, and is the restaurant responsible?  Select all appropriate choices</vt:lpstr>
      <vt:lpstr>Answer</vt:lpstr>
      <vt:lpstr>Washington D.C. – Scenario B </vt:lpstr>
      <vt:lpstr>What is the Manager's best course of action? Is the bar responsible? Select all appropriate choices:</vt:lpstr>
      <vt:lpstr>Answer</vt:lpstr>
      <vt:lpstr>Washington D.C. – Scenario C </vt:lpstr>
      <vt:lpstr>Who can report this? If an investigation confirms this harassing behavior, who can be held responsible? Select all appropriate choices.</vt:lpstr>
      <vt:lpstr>Answer</vt:lpstr>
      <vt:lpstr>In addition to RPM’s internal complaint process: </vt:lpstr>
      <vt:lpstr>Illinois- Protected Classes </vt:lpstr>
      <vt:lpstr>Illinois Human Rights Act</vt:lpstr>
      <vt:lpstr>City of Chicago </vt:lpstr>
      <vt:lpstr>In addition to RPM’s internal complaint process: </vt:lpstr>
      <vt:lpstr>Maine Human Rights Act</vt:lpstr>
      <vt:lpstr>Maine – Sexual Harassment</vt:lpstr>
      <vt:lpstr>In addition to RPM’s internal complaint process: </vt:lpstr>
      <vt:lpstr>Maryland – Protected classes</vt:lpstr>
      <vt:lpstr>Maryland – Harassment and Sexual Harassment</vt:lpstr>
      <vt:lpstr>In addition to RPM’s internal complaint process: </vt:lpstr>
      <vt:lpstr>New York State and New York City Laws</vt:lpstr>
      <vt:lpstr>New York – Protected Classes</vt:lpstr>
      <vt:lpstr>New York – Key Provisions</vt:lpstr>
      <vt:lpstr>In addition to RPM’s internal complaint process: </vt:lpstr>
      <vt:lpstr>Oregon State Law</vt:lpstr>
      <vt:lpstr>Oregon – Protected Classes</vt:lpstr>
      <vt:lpstr>Oregon – Prohibition of Retaliation</vt:lpstr>
      <vt:lpstr>In addition to RPM’s internal complaint process: </vt:lpstr>
      <vt:lpstr>Washington State Law</vt:lpstr>
      <vt:lpstr>Washington State – Sexual Harassment</vt:lpstr>
      <vt:lpstr>In addition to RPM’s internal complaint process: </vt:lpstr>
      <vt:lpstr>In addition to RPM’s internal complaint process: </vt:lpstr>
      <vt:lpstr>QUIZ </vt:lpstr>
      <vt:lpstr>Question #1: </vt:lpstr>
      <vt:lpstr>Answer #1: </vt:lpstr>
      <vt:lpstr>Question #2: </vt:lpstr>
      <vt:lpstr>Answer #2: </vt:lpstr>
      <vt:lpstr>Question #3: </vt:lpstr>
      <vt:lpstr>Answer #3: </vt:lpstr>
      <vt:lpstr>Hostile Work Environment  </vt:lpstr>
      <vt:lpstr>Hostile Work Environment  </vt:lpstr>
      <vt:lpstr>Hostile Work Environment  </vt:lpstr>
      <vt:lpstr>Severe Scenario   </vt:lpstr>
      <vt:lpstr>Pervasive Scenario   </vt:lpstr>
      <vt:lpstr>Hostile Work Environment  </vt:lpstr>
      <vt:lpstr>Hostile Work Environment – Case Study </vt:lpstr>
      <vt:lpstr>Hostile Work Environment – Case Study </vt:lpstr>
      <vt:lpstr>Case Study  - What do you do next? </vt:lpstr>
      <vt:lpstr>1. He touches everyone the same. Drop It.</vt:lpstr>
      <vt:lpstr>2. Tell Cindy to go to see Human Resources  or a supervisor.   </vt:lpstr>
      <vt:lpstr>3. Suggest she bring it up to Mike.  </vt:lpstr>
      <vt:lpstr>Hostile Work Environment </vt:lpstr>
      <vt:lpstr>Physical Conduct</vt:lpstr>
      <vt:lpstr>Verbal Conduct</vt:lpstr>
      <vt:lpstr>Visual Conduct</vt:lpstr>
      <vt:lpstr>Examples of Other Conduct</vt:lpstr>
      <vt:lpstr>QUIZ </vt:lpstr>
      <vt:lpstr>Question #1</vt:lpstr>
      <vt:lpstr>Answer #1</vt:lpstr>
      <vt:lpstr>Answer #1 – Follow-Up</vt:lpstr>
      <vt:lpstr>Question #2</vt:lpstr>
      <vt:lpstr>Answer #2</vt:lpstr>
      <vt:lpstr>Question #3</vt:lpstr>
      <vt:lpstr>Answer #3</vt:lpstr>
      <vt:lpstr>Follow-Up Answer #3</vt:lpstr>
      <vt:lpstr>Other Types of Misconduct  </vt:lpstr>
      <vt:lpstr>Quid Pro Quo</vt:lpstr>
      <vt:lpstr>Quid Pro Quo</vt:lpstr>
      <vt:lpstr>Abusive Conduct (Workplace Bullying) </vt:lpstr>
      <vt:lpstr>May not be illegal, but should not be tolerated: </vt:lpstr>
      <vt:lpstr>Case Study: An office admirer who  won’t take a hint.  </vt:lpstr>
      <vt:lpstr>Option 1: Let Him Down Easy  </vt:lpstr>
      <vt:lpstr>Option 1: Let Him Down Easy  </vt:lpstr>
      <vt:lpstr>Option 2: Tell HR   </vt:lpstr>
      <vt:lpstr>Other Types of Misconduct</vt:lpstr>
      <vt:lpstr>So what are everyone’s responsibilities in these situations? </vt:lpstr>
      <vt:lpstr>Quiz  </vt:lpstr>
      <vt:lpstr>Question #1</vt:lpstr>
      <vt:lpstr>Answer #1</vt:lpstr>
      <vt:lpstr>Question #2</vt:lpstr>
      <vt:lpstr>Answer #2</vt:lpstr>
      <vt:lpstr>Question #3</vt:lpstr>
      <vt:lpstr>Answer #3</vt:lpstr>
      <vt:lpstr>Question #4</vt:lpstr>
      <vt:lpstr>Answer #4</vt:lpstr>
      <vt:lpstr>Question #5</vt:lpstr>
      <vt:lpstr>Answer #5</vt:lpstr>
      <vt:lpstr>Complaint Procedures   </vt:lpstr>
      <vt:lpstr>Complaint procedures: </vt:lpstr>
      <vt:lpstr>No retaliation: </vt:lpstr>
      <vt:lpstr>Confidentiality: </vt:lpstr>
      <vt:lpstr>Case Study  </vt:lpstr>
      <vt:lpstr>Case Study  </vt:lpstr>
      <vt:lpstr>Possible Next Steps?   </vt:lpstr>
      <vt:lpstr>Report it to a Supervisor and HR   </vt:lpstr>
      <vt:lpstr>Who may be liable for sexual  harassment?    </vt:lpstr>
      <vt:lpstr>When is an employer liable? </vt:lpstr>
      <vt:lpstr>How can individuals be liable? </vt:lpstr>
      <vt:lpstr>Victims may be entitled to legal "remedies"  or awards: </vt:lpstr>
      <vt:lpstr>Quiz    </vt:lpstr>
      <vt:lpstr>Question #1</vt:lpstr>
      <vt:lpstr>Answer #1</vt:lpstr>
      <vt:lpstr>Question #2</vt:lpstr>
      <vt:lpstr>Answer #2</vt:lpstr>
      <vt:lpstr>Question #3</vt:lpstr>
      <vt:lpstr>Answer #3</vt:lpstr>
      <vt:lpstr>Question #4</vt:lpstr>
      <vt:lpstr>Answer #4</vt:lpstr>
      <vt:lpstr>Question #5</vt:lpstr>
      <vt:lpstr>Answer #5</vt:lpstr>
      <vt:lpstr>Raising Concer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80</cp:revision>
  <cp:lastPrinted>2020-04-30T20:14:04Z</cp:lastPrinted>
  <dcterms:created xsi:type="dcterms:W3CDTF">2018-12-18T18:53:57Z</dcterms:created>
  <dcterms:modified xsi:type="dcterms:W3CDTF">2023-08-15T13:2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F96E28B07F0843A24868D5892D9312</vt:lpwstr>
  </property>
  <property fmtid="{D5CDD505-2E9C-101B-9397-08002B2CF9AE}" pid="3" name="MSIP_Label_de496337-7d0d-4499-b21b-20c303660c33_Enabled">
    <vt:lpwstr>true</vt:lpwstr>
  </property>
  <property fmtid="{D5CDD505-2E9C-101B-9397-08002B2CF9AE}" pid="4" name="MSIP_Label_de496337-7d0d-4499-b21b-20c303660c33_SetDate">
    <vt:lpwstr>2022-04-19T19:52:31Z</vt:lpwstr>
  </property>
  <property fmtid="{D5CDD505-2E9C-101B-9397-08002B2CF9AE}" pid="5" name="MSIP_Label_de496337-7d0d-4499-b21b-20c303660c33_Method">
    <vt:lpwstr>Privileged</vt:lpwstr>
  </property>
  <property fmtid="{D5CDD505-2E9C-101B-9397-08002B2CF9AE}" pid="6" name="MSIP_Label_de496337-7d0d-4499-b21b-20c303660c33_Name">
    <vt:lpwstr>General</vt:lpwstr>
  </property>
  <property fmtid="{D5CDD505-2E9C-101B-9397-08002B2CF9AE}" pid="7" name="MSIP_Label_de496337-7d0d-4499-b21b-20c303660c33_SiteId">
    <vt:lpwstr>d35f1660-aa64-4c3d-9852-eb0873f81a5d</vt:lpwstr>
  </property>
  <property fmtid="{D5CDD505-2E9C-101B-9397-08002B2CF9AE}" pid="8" name="MSIP_Label_de496337-7d0d-4499-b21b-20c303660c33_ActionId">
    <vt:lpwstr>f8c9406e-578e-490f-bc5c-fc7d7b7c9878</vt:lpwstr>
  </property>
  <property fmtid="{D5CDD505-2E9C-101B-9397-08002B2CF9AE}" pid="9" name="MSIP_Label_de496337-7d0d-4499-b21b-20c303660c33_ContentBits">
    <vt:lpwstr>0</vt:lpwstr>
  </property>
</Properties>
</file>